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1326" r:id="rId2"/>
    <p:sldId id="1366" r:id="rId3"/>
    <p:sldId id="1369" r:id="rId4"/>
    <p:sldId id="282" r:id="rId5"/>
    <p:sldId id="280" r:id="rId6"/>
    <p:sldId id="1370" r:id="rId7"/>
    <p:sldId id="281" r:id="rId8"/>
    <p:sldId id="1153" r:id="rId9"/>
    <p:sldId id="1246" r:id="rId10"/>
    <p:sldId id="1371" r:id="rId11"/>
    <p:sldId id="300" r:id="rId12"/>
    <p:sldId id="1373" r:id="rId13"/>
    <p:sldId id="1313" r:id="rId14"/>
    <p:sldId id="1374" r:id="rId15"/>
    <p:sldId id="662" r:id="rId16"/>
    <p:sldId id="1375" r:id="rId17"/>
    <p:sldId id="648" r:id="rId18"/>
    <p:sldId id="1315" r:id="rId19"/>
    <p:sldId id="1362" r:id="rId20"/>
    <p:sldId id="821" r:id="rId21"/>
    <p:sldId id="1335" r:id="rId22"/>
    <p:sldId id="1356" r:id="rId23"/>
    <p:sldId id="1377" r:id="rId24"/>
    <p:sldId id="1344" r:id="rId25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2BC"/>
    <a:srgbClr val="1B3281"/>
    <a:srgbClr val="273478"/>
    <a:srgbClr val="FFFFFF"/>
    <a:srgbClr val="64BDE1"/>
    <a:srgbClr val="0A55A2"/>
    <a:srgbClr val="FAE480"/>
    <a:srgbClr val="3750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370" autoAdjust="0"/>
    <p:restoredTop sz="96086" autoAdjust="0"/>
  </p:normalViewPr>
  <p:slideViewPr>
    <p:cSldViewPr snapToGrid="0">
      <p:cViewPr varScale="1">
        <p:scale>
          <a:sx n="84" d="100"/>
          <a:sy n="84" d="100"/>
        </p:scale>
        <p:origin x="714" y="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8403DF-2D04-4312-86A8-BF8E06074FC1}" type="datetimeFigureOut">
              <a:rPr lang="ru-RU" smtClean="0"/>
              <a:pPr/>
              <a:t>22.11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1FDE44-3196-498E-A603-8183451638D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52686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1FDE44-3196-498E-A603-8183451638D1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97731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1FDE44-3196-498E-A603-8183451638D1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81129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1FDE44-3196-498E-A603-8183451638D1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06957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1FDE44-3196-498E-A603-8183451638D1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9157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1FDE44-3196-498E-A603-8183451638D1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49858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1FDE44-3196-498E-A603-8183451638D1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77234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C0D0694-D12B-4775-B1F1-AC3116FA112D}"/>
              </a:ext>
            </a:extLst>
          </p:cNvPr>
          <p:cNvSpPr/>
          <p:nvPr userDrawn="1"/>
        </p:nvSpPr>
        <p:spPr>
          <a:xfrm rot="10800000" flipH="1">
            <a:off x="11231808" y="0"/>
            <a:ext cx="956950" cy="6858000"/>
          </a:xfrm>
          <a:prstGeom prst="rect">
            <a:avLst/>
          </a:prstGeom>
          <a:gradFill>
            <a:gsLst>
              <a:gs pos="82000">
                <a:srgbClr val="1B3281"/>
              </a:gs>
              <a:gs pos="6000">
                <a:srgbClr val="0072BC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 descr="Изображение выглядит как книга, текст&#10;&#10;Автоматически созданное описание">
            <a:extLst>
              <a:ext uri="{FF2B5EF4-FFF2-40B4-BE49-F238E27FC236}">
                <a16:creationId xmlns:a16="http://schemas.microsoft.com/office/drawing/2014/main" id="{4D42D58B-1A3F-4F9E-AC76-17F6671CB1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7040" y="152399"/>
            <a:ext cx="706486" cy="819357"/>
          </a:xfrm>
          <a:prstGeom prst="rect">
            <a:avLst/>
          </a:prstGeom>
        </p:spPr>
      </p:pic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44E4AA84-4D85-4FAD-BEF9-1BFB674B7C77}"/>
              </a:ext>
            </a:extLst>
          </p:cNvPr>
          <p:cNvSpPr txBox="1">
            <a:spLocks/>
          </p:cNvSpPr>
          <p:nvPr userDrawn="1"/>
        </p:nvSpPr>
        <p:spPr>
          <a:xfrm>
            <a:off x="11358290" y="6420656"/>
            <a:ext cx="735805" cy="3763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725C68B6-61C2-468F-89AB-4B9F7531AA68}" type="slidenum">
              <a:rPr lang="ru-RU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DFCBAD97-65E4-43C9-84A2-90326F2BBDA2}"/>
              </a:ext>
            </a:extLst>
          </p:cNvPr>
          <p:cNvCxnSpPr/>
          <p:nvPr userDrawn="1"/>
        </p:nvCxnSpPr>
        <p:spPr>
          <a:xfrm>
            <a:off x="0" y="1117600"/>
            <a:ext cx="1857829" cy="0"/>
          </a:xfrm>
          <a:prstGeom prst="line">
            <a:avLst/>
          </a:prstGeom>
          <a:ln w="76200">
            <a:solidFill>
              <a:srgbClr val="0072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1616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33C7E2CC-65E1-4566-85CF-1CC8A9E9F2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6540" y="128091"/>
            <a:ext cx="746986" cy="867972"/>
          </a:xfrm>
          <a:prstGeom prst="rect">
            <a:avLst/>
          </a:prstGeom>
        </p:spPr>
      </p:pic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44E4AA84-4D85-4FAD-BEF9-1BFB674B7C77}"/>
              </a:ext>
            </a:extLst>
          </p:cNvPr>
          <p:cNvSpPr txBox="1">
            <a:spLocks/>
          </p:cNvSpPr>
          <p:nvPr userDrawn="1"/>
        </p:nvSpPr>
        <p:spPr>
          <a:xfrm>
            <a:off x="11358290" y="6420656"/>
            <a:ext cx="735805" cy="3763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725C68B6-61C2-468F-89AB-4B9F7531AA68}" type="slidenum">
              <a:rPr lang="ru-RU" sz="1600" smtClean="0">
                <a:solidFill>
                  <a:srgbClr val="0072BC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sz="1600" dirty="0">
              <a:solidFill>
                <a:srgbClr val="0072B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DFCBAD97-65E4-43C9-84A2-90326F2BBDA2}"/>
              </a:ext>
            </a:extLst>
          </p:cNvPr>
          <p:cNvCxnSpPr/>
          <p:nvPr userDrawn="1"/>
        </p:nvCxnSpPr>
        <p:spPr>
          <a:xfrm>
            <a:off x="0" y="1117600"/>
            <a:ext cx="1857829" cy="0"/>
          </a:xfrm>
          <a:prstGeom prst="line">
            <a:avLst/>
          </a:prstGeom>
          <a:ln w="76200">
            <a:solidFill>
              <a:srgbClr val="0072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11097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Изображение выглядит как карта&#10;&#10;Автоматически созданное описание">
            <a:extLst>
              <a:ext uri="{FF2B5EF4-FFF2-40B4-BE49-F238E27FC236}">
                <a16:creationId xmlns:a16="http://schemas.microsoft.com/office/drawing/2014/main" id="{9F04A334-564B-43B9-A1C2-D3108356F3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333"/>
          <a:stretch/>
        </p:blipFill>
        <p:spPr>
          <a:xfrm>
            <a:off x="8331200" y="0"/>
            <a:ext cx="3860800" cy="6858000"/>
          </a:xfrm>
          <a:prstGeom prst="rect">
            <a:avLst/>
          </a:prstGeom>
        </p:spPr>
      </p:pic>
      <p:pic>
        <p:nvPicPr>
          <p:cNvPr id="5" name="Рисунок 4" descr="Изображение выглядит как книга, текст&#10;&#10;Автоматически созданное описание">
            <a:extLst>
              <a:ext uri="{FF2B5EF4-FFF2-40B4-BE49-F238E27FC236}">
                <a16:creationId xmlns:a16="http://schemas.microsoft.com/office/drawing/2014/main" id="{0CC14C7F-016E-49D4-B8B0-C7ECA8A62C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740" y="1654032"/>
            <a:ext cx="1854592" cy="2150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4066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Изображение выглядит как карта&#10;&#10;Автоматически созданное описание">
            <a:extLst>
              <a:ext uri="{FF2B5EF4-FFF2-40B4-BE49-F238E27FC236}">
                <a16:creationId xmlns:a16="http://schemas.microsoft.com/office/drawing/2014/main" id="{0D23CDFE-39B3-47A1-B816-383B436410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3427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C19D0F-78AA-F642-A300-B405625BCEA9}" type="datetimeFigureOut">
              <a:rPr lang="ru-RU" smtClean="0"/>
              <a:t>22.11.2021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7F688-0F7C-F84B-94AC-A7D87922BC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54554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C19D0F-78AA-F642-A300-B405625BCEA9}" type="datetimeFigureOut">
              <a:rPr lang="ru-RU" smtClean="0"/>
              <a:t>22.11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7F688-0F7C-F84B-94AC-A7D87922BC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54710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6817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4" name="Объект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1350" b="0" i="0" baseline="0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4" y="6309320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225"/>
              </a:spcBef>
              <a:defRPr sz="6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332086"/>
            <a:ext cx="11520000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8492265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4108" y="666749"/>
            <a:ext cx="10748291" cy="546755"/>
          </a:xfrm>
        </p:spPr>
        <p:txBody>
          <a:bodyPr>
            <a:normAutofit/>
          </a:bodyPr>
          <a:lstStyle>
            <a:lvl1pPr algn="l">
              <a:defRPr sz="3600"/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188C0-0690-4813-9C5A-23A3FA88CF27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Текст 3"/>
          <p:cNvSpPr>
            <a:spLocks noGrp="1"/>
          </p:cNvSpPr>
          <p:nvPr>
            <p:ph type="body" sz="half" idx="13" hasCustomPrompt="1"/>
          </p:nvPr>
        </p:nvSpPr>
        <p:spPr>
          <a:xfrm>
            <a:off x="846747" y="2010567"/>
            <a:ext cx="10735652" cy="4075907"/>
          </a:xfrm>
        </p:spPr>
        <p:txBody>
          <a:bodyPr/>
          <a:lstStyle>
            <a:lvl1pPr marL="0" indent="0" algn="just">
              <a:spcBef>
                <a:spcPts val="0"/>
              </a:spcBef>
              <a:spcAft>
                <a:spcPts val="1000"/>
              </a:spcAft>
              <a:buNone/>
              <a:defRPr lang="ru-RU" sz="24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34138181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041C7A-404D-4A1A-8130-03CF3FF7F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D97A78E-AE0C-496D-875C-E74DBE825B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B708932-BFCA-43CF-A98E-C9B84838D7F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435FE6-3A62-46A3-AD8C-BF2F692313A5}" type="datetimeFigureOut">
              <a:rPr lang="ru-RU" smtClean="0"/>
              <a:pPr/>
              <a:t>22.11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7857F0A-3123-49DA-B46C-A65C8699C4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1221AAF-B13C-44AD-8EC8-B707771E5D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607B4C-393F-4E3D-A696-83B041F08F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9190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6" r:id="rId2"/>
    <p:sldLayoutId id="2147483654" r:id="rId3"/>
    <p:sldLayoutId id="2147483655" r:id="rId4"/>
    <p:sldLayoutId id="2147483657" r:id="rId5"/>
    <p:sldLayoutId id="2147483658" r:id="rId6"/>
    <p:sldLayoutId id="2147483659" r:id="rId7"/>
    <p:sldLayoutId id="2147483660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tmp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.tm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clck.ru/TJfRw" TargetMode="External"/><Relationship Id="rId2" Type="http://schemas.openxmlformats.org/officeDocument/2006/relationships/image" Target="../media/image19.tmp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0.tmp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1.tmp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4.tmp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png"/><Relationship Id="rId4" Type="http://schemas.openxmlformats.org/officeDocument/2006/relationships/image" Target="../media/image27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tmp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tmp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tmp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.png"/><Relationship Id="rId4" Type="http://schemas.openxmlformats.org/officeDocument/2006/relationships/image" Target="../media/image31.tmp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tmp"/><Relationship Id="rId2" Type="http://schemas.openxmlformats.org/officeDocument/2006/relationships/image" Target="../media/image32.tmp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5.jpeg"/><Relationship Id="rId4" Type="http://schemas.openxmlformats.org/officeDocument/2006/relationships/image" Target="../media/image34.tmp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tmp"/><Relationship Id="rId2" Type="http://schemas.openxmlformats.org/officeDocument/2006/relationships/image" Target="../media/image36.tmp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8.tmp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image" Target="../media/image40.jpeg"/><Relationship Id="rId7" Type="http://schemas.openxmlformats.org/officeDocument/2006/relationships/image" Target="../media/image43.jpeg"/><Relationship Id="rId12" Type="http://schemas.openxmlformats.org/officeDocument/2006/relationships/image" Target="../media/image47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2.jpeg"/><Relationship Id="rId11" Type="http://schemas.openxmlformats.org/officeDocument/2006/relationships/image" Target="../media/image46.jpeg"/><Relationship Id="rId5" Type="http://schemas.openxmlformats.org/officeDocument/2006/relationships/image" Target="../media/image41.tmp"/><Relationship Id="rId10" Type="http://schemas.openxmlformats.org/officeDocument/2006/relationships/image" Target="../media/image28.tmp"/><Relationship Id="rId4" Type="http://schemas.openxmlformats.org/officeDocument/2006/relationships/image" Target="../media/image7.jpeg"/><Relationship Id="rId9" Type="http://schemas.openxmlformats.org/officeDocument/2006/relationships/image" Target="../media/image4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tmp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9.png"/><Relationship Id="rId4" Type="http://schemas.openxmlformats.org/officeDocument/2006/relationships/image" Target="../media/image11.tm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m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mp"/><Relationship Id="rId2" Type="http://schemas.openxmlformats.org/officeDocument/2006/relationships/image" Target="../media/image13.tmp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8294908-8B00-4F58-BBBA-20F71A40A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364C879-1404-4203-8E9D-CC5DE0A621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82782" y="-1386168"/>
            <a:ext cx="2424873" cy="3611191"/>
          </a:xfrm>
          <a:custGeom>
            <a:avLst/>
            <a:gdLst>
              <a:gd name="connsiteX0" fmla="*/ 0 w 2424873"/>
              <a:gd name="connsiteY0" fmla="*/ 2424874 h 3611191"/>
              <a:gd name="connsiteX1" fmla="*/ 2424873 w 2424873"/>
              <a:gd name="connsiteY1" fmla="*/ 0 h 3611191"/>
              <a:gd name="connsiteX2" fmla="*/ 2424873 w 2424873"/>
              <a:gd name="connsiteY2" fmla="*/ 3611191 h 3611191"/>
              <a:gd name="connsiteX3" fmla="*/ 1186317 w 2424873"/>
              <a:gd name="connsiteY3" fmla="*/ 3611191 h 3611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24873" h="3611191">
                <a:moveTo>
                  <a:pt x="0" y="2424874"/>
                </a:moveTo>
                <a:lnTo>
                  <a:pt x="2424873" y="0"/>
                </a:lnTo>
                <a:lnTo>
                  <a:pt x="2424873" y="3611191"/>
                </a:lnTo>
                <a:lnTo>
                  <a:pt x="1186317" y="3611191"/>
                </a:ln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4617302-4B0D-4351-A6BB-6F0930D943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571000" y="-338582"/>
            <a:ext cx="1635955" cy="1635955"/>
          </a:xfrm>
          <a:custGeom>
            <a:avLst/>
            <a:gdLst>
              <a:gd name="connsiteX0" fmla="*/ 0 w 1635955"/>
              <a:gd name="connsiteY0" fmla="*/ 957987 h 1635955"/>
              <a:gd name="connsiteX1" fmla="*/ 957987 w 1635955"/>
              <a:gd name="connsiteY1" fmla="*/ 0 h 1635955"/>
              <a:gd name="connsiteX2" fmla="*/ 1635955 w 1635955"/>
              <a:gd name="connsiteY2" fmla="*/ 0 h 1635955"/>
              <a:gd name="connsiteX3" fmla="*/ 1635955 w 1635955"/>
              <a:gd name="connsiteY3" fmla="*/ 1635955 h 1635955"/>
              <a:gd name="connsiteX4" fmla="*/ 0 w 1635955"/>
              <a:gd name="connsiteY4" fmla="*/ 1635955 h 1635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5955" h="1635955">
                <a:moveTo>
                  <a:pt x="0" y="957987"/>
                </a:moveTo>
                <a:lnTo>
                  <a:pt x="957987" y="0"/>
                </a:lnTo>
                <a:lnTo>
                  <a:pt x="1635955" y="0"/>
                </a:lnTo>
                <a:lnTo>
                  <a:pt x="1635955" y="1635955"/>
                </a:lnTo>
                <a:lnTo>
                  <a:pt x="0" y="1635955"/>
                </a:ln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DA2C7802-C2E0-4218-8F89-8DD7CCD2C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9627985" y="-6588"/>
            <a:ext cx="4059393" cy="2548110"/>
          </a:xfrm>
          <a:custGeom>
            <a:avLst/>
            <a:gdLst>
              <a:gd name="connsiteX0" fmla="*/ 0 w 4059393"/>
              <a:gd name="connsiteY0" fmla="*/ 1511282 h 2548110"/>
              <a:gd name="connsiteX1" fmla="*/ 1511282 w 4059393"/>
              <a:gd name="connsiteY1" fmla="*/ 0 h 2548110"/>
              <a:gd name="connsiteX2" fmla="*/ 4059393 w 4059393"/>
              <a:gd name="connsiteY2" fmla="*/ 2548110 h 2548110"/>
              <a:gd name="connsiteX3" fmla="*/ 0 w 4059393"/>
              <a:gd name="connsiteY3" fmla="*/ 2548110 h 2548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59393" h="2548110">
                <a:moveTo>
                  <a:pt x="0" y="1511282"/>
                </a:moveTo>
                <a:lnTo>
                  <a:pt x="1511282" y="0"/>
                </a:lnTo>
                <a:lnTo>
                  <a:pt x="4059393" y="2548110"/>
                </a:lnTo>
                <a:lnTo>
                  <a:pt x="0" y="2548110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6D7111A-21E5-4EE9-8A78-10E5530F01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0262924" y="1465780"/>
            <a:ext cx="1185708" cy="118570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3969E80-A77B-49FC-9122-D89AFD5EE1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-29557" y="5198743"/>
            <a:ext cx="2444907" cy="2366116"/>
          </a:xfrm>
          <a:custGeom>
            <a:avLst/>
            <a:gdLst>
              <a:gd name="connsiteX0" fmla="*/ 0 w 2203753"/>
              <a:gd name="connsiteY0" fmla="*/ 0 h 2132734"/>
              <a:gd name="connsiteX1" fmla="*/ 2203753 w 2203753"/>
              <a:gd name="connsiteY1" fmla="*/ 0 h 2132734"/>
              <a:gd name="connsiteX2" fmla="*/ 2203753 w 2203753"/>
              <a:gd name="connsiteY2" fmla="*/ 576461 h 2132734"/>
              <a:gd name="connsiteX3" fmla="*/ 647480 w 2203753"/>
              <a:gd name="connsiteY3" fmla="*/ 2132734 h 2132734"/>
              <a:gd name="connsiteX4" fmla="*/ 0 w 2203753"/>
              <a:gd name="connsiteY4" fmla="*/ 1485255 h 2132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3753" h="2132734">
                <a:moveTo>
                  <a:pt x="0" y="0"/>
                </a:moveTo>
                <a:lnTo>
                  <a:pt x="2203753" y="0"/>
                </a:lnTo>
                <a:lnTo>
                  <a:pt x="2203753" y="576461"/>
                </a:lnTo>
                <a:lnTo>
                  <a:pt x="647480" y="2132734"/>
                </a:lnTo>
                <a:lnTo>
                  <a:pt x="0" y="1485255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849CA57-76BD-4CF2-80BA-D7A46A01B7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1769787" y="5439893"/>
            <a:ext cx="928467" cy="928467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35E9085E-E730-4768-83D4-6CB7E98971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3401311" y="734311"/>
            <a:ext cx="5389379" cy="5389379"/>
          </a:xfrm>
          <a:custGeom>
            <a:avLst/>
            <a:gdLst>
              <a:gd name="connsiteX0" fmla="*/ 0 w 5389379"/>
              <a:gd name="connsiteY0" fmla="*/ 540040 h 5389379"/>
              <a:gd name="connsiteX1" fmla="*/ 540040 w 5389379"/>
              <a:gd name="connsiteY1" fmla="*/ 0 h 5389379"/>
              <a:gd name="connsiteX2" fmla="*/ 5389379 w 5389379"/>
              <a:gd name="connsiteY2" fmla="*/ 0 h 5389379"/>
              <a:gd name="connsiteX3" fmla="*/ 5389379 w 5389379"/>
              <a:gd name="connsiteY3" fmla="*/ 4838655 h 5389379"/>
              <a:gd name="connsiteX4" fmla="*/ 4838655 w 5389379"/>
              <a:gd name="connsiteY4" fmla="*/ 5389379 h 5389379"/>
              <a:gd name="connsiteX5" fmla="*/ 0 w 5389379"/>
              <a:gd name="connsiteY5" fmla="*/ 5389379 h 5389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89379" h="5389379">
                <a:moveTo>
                  <a:pt x="0" y="540040"/>
                </a:moveTo>
                <a:lnTo>
                  <a:pt x="540040" y="0"/>
                </a:lnTo>
                <a:lnTo>
                  <a:pt x="5389379" y="0"/>
                </a:lnTo>
                <a:lnTo>
                  <a:pt x="5389379" y="4838655"/>
                </a:lnTo>
                <a:lnTo>
                  <a:pt x="4838655" y="5389379"/>
                </a:lnTo>
                <a:lnTo>
                  <a:pt x="0" y="53893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73272FE-A474-4CAE-8CA2-BCC8B476C3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2700283" y="33283"/>
            <a:ext cx="6791435" cy="6791435"/>
          </a:xfrm>
          <a:custGeom>
            <a:avLst/>
            <a:gdLst>
              <a:gd name="connsiteX0" fmla="*/ 1860938 w 6791435"/>
              <a:gd name="connsiteY0" fmla="*/ 81158 h 6791435"/>
              <a:gd name="connsiteX1" fmla="*/ 1942096 w 6791435"/>
              <a:gd name="connsiteY1" fmla="*/ 0 h 6791435"/>
              <a:gd name="connsiteX2" fmla="*/ 6791435 w 6791435"/>
              <a:gd name="connsiteY2" fmla="*/ 0 h 6791435"/>
              <a:gd name="connsiteX3" fmla="*/ 6791435 w 6791435"/>
              <a:gd name="connsiteY3" fmla="*/ 4838655 h 6791435"/>
              <a:gd name="connsiteX4" fmla="*/ 6710277 w 6791435"/>
              <a:gd name="connsiteY4" fmla="*/ 4919813 h 6791435"/>
              <a:gd name="connsiteX5" fmla="*/ 6710277 w 6791435"/>
              <a:gd name="connsiteY5" fmla="*/ 81158 h 6791435"/>
              <a:gd name="connsiteX6" fmla="*/ 0 w 6791435"/>
              <a:gd name="connsiteY6" fmla="*/ 1942096 h 6791435"/>
              <a:gd name="connsiteX7" fmla="*/ 81158 w 6791435"/>
              <a:gd name="connsiteY7" fmla="*/ 1860938 h 6791435"/>
              <a:gd name="connsiteX8" fmla="*/ 81158 w 6791435"/>
              <a:gd name="connsiteY8" fmla="*/ 6710277 h 6791435"/>
              <a:gd name="connsiteX9" fmla="*/ 4919813 w 6791435"/>
              <a:gd name="connsiteY9" fmla="*/ 6710277 h 6791435"/>
              <a:gd name="connsiteX10" fmla="*/ 4838655 w 6791435"/>
              <a:gd name="connsiteY10" fmla="*/ 6791435 h 6791435"/>
              <a:gd name="connsiteX11" fmla="*/ 0 w 6791435"/>
              <a:gd name="connsiteY11" fmla="*/ 6791435 h 6791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91435" h="6791435">
                <a:moveTo>
                  <a:pt x="1860938" y="81158"/>
                </a:moveTo>
                <a:lnTo>
                  <a:pt x="1942096" y="0"/>
                </a:lnTo>
                <a:lnTo>
                  <a:pt x="6791435" y="0"/>
                </a:lnTo>
                <a:lnTo>
                  <a:pt x="6791435" y="4838655"/>
                </a:lnTo>
                <a:lnTo>
                  <a:pt x="6710277" y="4919813"/>
                </a:lnTo>
                <a:lnTo>
                  <a:pt x="6710277" y="81158"/>
                </a:lnTo>
                <a:close/>
                <a:moveTo>
                  <a:pt x="0" y="1942096"/>
                </a:moveTo>
                <a:lnTo>
                  <a:pt x="81158" y="1860938"/>
                </a:lnTo>
                <a:lnTo>
                  <a:pt x="81158" y="6710277"/>
                </a:lnTo>
                <a:lnTo>
                  <a:pt x="4919813" y="6710277"/>
                </a:lnTo>
                <a:lnTo>
                  <a:pt x="4838655" y="6791435"/>
                </a:lnTo>
                <a:lnTo>
                  <a:pt x="0" y="6791435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43B5CED-5AAF-4FEC-9D00-C1D842457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5090" y="2029206"/>
            <a:ext cx="6641273" cy="2150719"/>
          </a:xfr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ru-RU" sz="36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  <a:t>Рабочая программа по математике для начальной школы</a:t>
            </a:r>
            <a:endParaRPr lang="en-US" sz="3600" kern="1200" dirty="0">
              <a:solidFill>
                <a:srgbClr val="080808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07981EA-05A6-437C-88D7-B377B92B03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9629823" y="5457591"/>
            <a:ext cx="2231794" cy="2568811"/>
          </a:xfrm>
          <a:custGeom>
            <a:avLst/>
            <a:gdLst>
              <a:gd name="connsiteX0" fmla="*/ 0 w 2940086"/>
              <a:gd name="connsiteY0" fmla="*/ 0 h 3384061"/>
              <a:gd name="connsiteX1" fmla="*/ 2496112 w 2940086"/>
              <a:gd name="connsiteY1" fmla="*/ 0 h 3384061"/>
              <a:gd name="connsiteX2" fmla="*/ 2940086 w 2940086"/>
              <a:gd name="connsiteY2" fmla="*/ 443975 h 3384061"/>
              <a:gd name="connsiteX3" fmla="*/ 0 w 2940086"/>
              <a:gd name="connsiteY3" fmla="*/ 3384061 h 3384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0086" h="3384061">
                <a:moveTo>
                  <a:pt x="0" y="0"/>
                </a:moveTo>
                <a:lnTo>
                  <a:pt x="2496112" y="0"/>
                </a:lnTo>
                <a:lnTo>
                  <a:pt x="2940086" y="443975"/>
                </a:lnTo>
                <a:lnTo>
                  <a:pt x="0" y="3384061"/>
                </a:ln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5E3C750-986E-4769-B1AE-49289FBEE7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9720059" y="5243545"/>
            <a:ext cx="959985" cy="959985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CFF878-6E0D-4F78-9137-BCB7F5986EE9}"/>
              </a:ext>
            </a:extLst>
          </p:cNvPr>
          <p:cNvSpPr txBox="1"/>
          <p:nvPr/>
        </p:nvSpPr>
        <p:spPr>
          <a:xfrm>
            <a:off x="5295460" y="5285332"/>
            <a:ext cx="6110868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2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  <a:t>Рыдзе Оксана Анатольевна, </a:t>
            </a:r>
            <a:r>
              <a:rPr lang="ru-RU" sz="2200" kern="1200" dirty="0" err="1">
                <a:solidFill>
                  <a:srgbClr val="080808"/>
                </a:solidFill>
                <a:latin typeface="+mj-lt"/>
                <a:ea typeface="+mj-ea"/>
                <a:cs typeface="+mj-cs"/>
              </a:rPr>
              <a:t>к.п.н</a:t>
            </a:r>
            <a:r>
              <a:rPr lang="ru-RU" sz="22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  <a:t>., старший научный сотрудник Центра начального обучения Института стратегии развития образования РАО</a:t>
            </a:r>
            <a:br>
              <a:rPr lang="ru-RU" sz="2200" kern="1200" dirty="0">
                <a:solidFill>
                  <a:srgbClr val="080808"/>
                </a:solidFill>
                <a:latin typeface="+mj-lt"/>
                <a:ea typeface="+mj-ea"/>
                <a:cs typeface="+mj-cs"/>
              </a:rPr>
            </a:br>
            <a:endParaRPr lang="ru-RU" sz="2200" dirty="0"/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F8EAB2F0-9EEE-413F-8E22-3F9C5463BFA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093" y="188912"/>
            <a:ext cx="2903472" cy="815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934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69BFAB7B-690E-4170-B2EE-FEE46A89108E}"/>
              </a:ext>
            </a:extLst>
          </p:cNvPr>
          <p:cNvSpPr txBox="1">
            <a:spLocks/>
          </p:cNvSpPr>
          <p:nvPr/>
        </p:nvSpPr>
        <p:spPr>
          <a:xfrm>
            <a:off x="2078459" y="900311"/>
            <a:ext cx="8818141" cy="115151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 defTabSz="844083" rtl="0" eaLnBrk="1" latinLnBrk="0" hangingPunct="1">
              <a:spcBef>
                <a:spcPct val="0"/>
              </a:spcBef>
              <a:buNone/>
              <a:defRPr sz="406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sz="3200" b="1" dirty="0">
              <a:solidFill>
                <a:srgbClr val="0072B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Таблица 2">
            <a:extLst>
              <a:ext uri="{FF2B5EF4-FFF2-40B4-BE49-F238E27FC236}">
                <a16:creationId xmlns:a16="http://schemas.microsoft.com/office/drawing/2014/main" id="{8071D6F6-A69D-4127-AFD5-932630F6A310}"/>
              </a:ext>
            </a:extLst>
          </p:cNvPr>
          <p:cNvGraphicFramePr>
            <a:graphicFrameLocks noGrp="1"/>
          </p:cNvGraphicFramePr>
          <p:nvPr/>
        </p:nvGraphicFramePr>
        <p:xfrm>
          <a:off x="1311119" y="2145964"/>
          <a:ext cx="9916912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16912">
                  <a:extLst>
                    <a:ext uri="{9D8B030D-6E8A-4147-A177-3AD203B41FA5}">
                      <a16:colId xmlns:a16="http://schemas.microsoft.com/office/drawing/2014/main" val="15779315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457200" marR="0" lvl="0" indent="-4572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2600" b="0" dirty="0">
                          <a:solidFill>
                            <a:schemeClr val="tx1"/>
                          </a:solidFill>
                        </a:rPr>
                        <a:t>Данные о реальных процессах и явлениях окружающего мира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6211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7200" indent="-457200" algn="l">
                        <a:buFont typeface="Arial" panose="020B0604020202020204" pitchFamily="34" charset="0"/>
                        <a:buChar char="•"/>
                      </a:pPr>
                      <a:r>
                        <a:rPr lang="ru-RU" sz="2600" b="0" dirty="0">
                          <a:solidFill>
                            <a:schemeClr val="tx1"/>
                          </a:solidFill>
                        </a:rPr>
                        <a:t>Работа с утверждениями, решение логических задач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4843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457200" indent="-457200" algn="l">
                        <a:buFont typeface="Arial" panose="020B0604020202020204" pitchFamily="34" charset="0"/>
                        <a:buChar char="•"/>
                      </a:pPr>
                      <a:r>
                        <a:rPr lang="ru-RU" sz="2600" b="0" dirty="0">
                          <a:solidFill>
                            <a:schemeClr val="tx1"/>
                          </a:solidFill>
                        </a:rPr>
                        <a:t>Информационные действия (составление формализованных описаний, организация процесса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7094791"/>
                  </a:ext>
                </a:extLst>
              </a:tr>
              <a:tr h="472565">
                <a:tc>
                  <a:txBody>
                    <a:bodyPr/>
                    <a:lstStyle/>
                    <a:p>
                      <a:pPr marL="457200" marR="0" lvl="0" indent="-4572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2600" b="0" dirty="0">
                          <a:solidFill>
                            <a:schemeClr val="tx1"/>
                          </a:solidFill>
                        </a:rPr>
                        <a:t>Правила поведения и работа с доступными электронными средствами обучения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633030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17A6B6D-BC52-4661-8709-474701D23526}"/>
              </a:ext>
            </a:extLst>
          </p:cNvPr>
          <p:cNvSpPr txBox="1"/>
          <p:nvPr/>
        </p:nvSpPr>
        <p:spPr>
          <a:xfrm>
            <a:off x="558800" y="5641124"/>
            <a:ext cx="3238501" cy="830997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rgbClr val="00B050"/>
                </a:solidFill>
              </a:rPr>
              <a:t>сбор информации/данных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6B956B-C694-4672-AE46-8965E4027D9F}"/>
              </a:ext>
            </a:extLst>
          </p:cNvPr>
          <p:cNvSpPr txBox="1"/>
          <p:nvPr/>
        </p:nvSpPr>
        <p:spPr>
          <a:xfrm>
            <a:off x="4271334" y="5596818"/>
            <a:ext cx="3996482" cy="830997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rgbClr val="00B050"/>
                </a:solidFill>
              </a:rPr>
              <a:t>запись данных в определенной форме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DA16DB-2EBE-4C3F-969B-63DC6B833B3A}"/>
              </a:ext>
            </a:extLst>
          </p:cNvPr>
          <p:cNvSpPr txBox="1"/>
          <p:nvPr/>
        </p:nvSpPr>
        <p:spPr>
          <a:xfrm>
            <a:off x="8741849" y="6196983"/>
            <a:ext cx="2504222" cy="461665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rgbClr val="00B050"/>
                </a:solidFill>
              </a:rPr>
              <a:t>интерпретация</a:t>
            </a:r>
            <a:r>
              <a:rPr lang="ru-RU" dirty="0">
                <a:solidFill>
                  <a:srgbClr val="00B050"/>
                </a:solidFill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912663E-5820-4F75-8714-1F1790AB067F}"/>
              </a:ext>
            </a:extLst>
          </p:cNvPr>
          <p:cNvSpPr txBox="1"/>
          <p:nvPr/>
        </p:nvSpPr>
        <p:spPr>
          <a:xfrm>
            <a:off x="8741849" y="5477501"/>
            <a:ext cx="2438795" cy="461665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rgbClr val="00B050"/>
                </a:solidFill>
              </a:rPr>
              <a:t>преобразование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DA5E9CCB-5999-4784-9A41-1E4BCE48A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4108" y="666749"/>
            <a:ext cx="10748291" cy="1084391"/>
          </a:xfrm>
        </p:spPr>
        <p:txBody>
          <a:bodyPr>
            <a:normAutofit/>
          </a:bodyPr>
          <a:lstStyle/>
          <a:p>
            <a:pPr algn="ctr"/>
            <a:r>
              <a:rPr lang="ru-RU" dirty="0"/>
              <a:t>Математическая информация –</a:t>
            </a:r>
            <a:br>
              <a:rPr lang="ru-RU" dirty="0"/>
            </a:br>
            <a:r>
              <a:rPr lang="ru-RU" dirty="0"/>
              <a:t>универсальный блок содержания</a:t>
            </a: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95E23ED7-69F8-4CF7-9F35-E0FC637D84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670920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F8EB82D-017F-4B33-9585-9860C1D83684}"/>
              </a:ext>
            </a:extLst>
          </p:cNvPr>
          <p:cNvSpPr txBox="1">
            <a:spLocks/>
          </p:cNvSpPr>
          <p:nvPr/>
        </p:nvSpPr>
        <p:spPr>
          <a:xfrm>
            <a:off x="1468859" y="636126"/>
            <a:ext cx="10056856" cy="115151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 defTabSz="844083" rtl="0" eaLnBrk="1" latinLnBrk="0" hangingPunct="1">
              <a:spcBef>
                <a:spcPct val="0"/>
              </a:spcBef>
              <a:buNone/>
              <a:defRPr sz="406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sz="32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 descr="Изображение выглядит как текст, внутренний, овощ, несколько&#10;&#10;Автоматически созданное описание">
            <a:extLst>
              <a:ext uri="{FF2B5EF4-FFF2-40B4-BE49-F238E27FC236}">
                <a16:creationId xmlns:a16="http://schemas.microsoft.com/office/drawing/2014/main" id="{BE40DA00-2454-4A31-8090-2E764DA6B3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285" y="1477179"/>
            <a:ext cx="3980967" cy="5286950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4" name="Picture 2" descr="http://disk.yandex.net/qr/?clean=1&amp;text=https://clck.ru/Y9oHq">
            <a:extLst>
              <a:ext uri="{FF2B5EF4-FFF2-40B4-BE49-F238E27FC236}">
                <a16:creationId xmlns:a16="http://schemas.microsoft.com/office/drawing/2014/main" id="{EBA2D358-F394-4D2C-BD73-BC35FB34C2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8280" y="5448176"/>
            <a:ext cx="1190625" cy="119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C5BD817-EC67-4AC9-B674-32A1651E775B}"/>
              </a:ext>
            </a:extLst>
          </p:cNvPr>
          <p:cNvSpPr txBox="1"/>
          <p:nvPr/>
        </p:nvSpPr>
        <p:spPr>
          <a:xfrm>
            <a:off x="5168280" y="2997241"/>
            <a:ext cx="3442320" cy="461665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rgbClr val="7030A0"/>
                </a:solidFill>
              </a:rPr>
              <a:t>Закрепление изученного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2DDB07E-678B-4BAB-A5D8-739D085D1808}"/>
              </a:ext>
            </a:extLst>
          </p:cNvPr>
          <p:cNvSpPr txBox="1"/>
          <p:nvPr/>
        </p:nvSpPr>
        <p:spPr>
          <a:xfrm>
            <a:off x="6358905" y="2427110"/>
            <a:ext cx="5445807" cy="461665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rgbClr val="7030A0"/>
                </a:solidFill>
              </a:rPr>
              <a:t>Организация проектной деятельности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8808AA4-282D-47C4-8E78-4A9EAFE7BBD8}"/>
              </a:ext>
            </a:extLst>
          </p:cNvPr>
          <p:cNvSpPr txBox="1"/>
          <p:nvPr/>
        </p:nvSpPr>
        <p:spPr>
          <a:xfrm>
            <a:off x="6470495" y="3622543"/>
            <a:ext cx="5055220" cy="830997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rgbClr val="7030A0"/>
                </a:solidFill>
              </a:rPr>
              <a:t>Использование различных форм организации обучения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6223891-337C-44F4-A50D-0CDA0D880EA5}"/>
              </a:ext>
            </a:extLst>
          </p:cNvPr>
          <p:cNvSpPr txBox="1"/>
          <p:nvPr/>
        </p:nvSpPr>
        <p:spPr>
          <a:xfrm>
            <a:off x="5168280" y="1881048"/>
            <a:ext cx="4966320" cy="461665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rgbClr val="7030A0"/>
                </a:solidFill>
              </a:rPr>
              <a:t>Расширение и углубление знаний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CE64594-5B6A-4B0A-A5C7-1B51322A832F}"/>
              </a:ext>
            </a:extLst>
          </p:cNvPr>
          <p:cNvSpPr txBox="1"/>
          <p:nvPr/>
        </p:nvSpPr>
        <p:spPr>
          <a:xfrm>
            <a:off x="5168280" y="4612154"/>
            <a:ext cx="6477620" cy="461665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rgbClr val="7030A0"/>
                </a:solidFill>
              </a:rPr>
              <a:t>Применение знаний в повседневной жизни</a:t>
            </a:r>
          </a:p>
        </p:txBody>
      </p:sp>
      <p:pic>
        <p:nvPicPr>
          <p:cNvPr id="11" name="Рисунок 10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DA12E794-4B65-454D-8FBE-78739A04AB7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216" y="103687"/>
            <a:ext cx="1088731" cy="957559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FBAEEAA3-700C-4E0A-8A35-11B20629C5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83725F07-0F6E-4904-AE2C-7F5EB9D86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sz="3600" b="1" dirty="0">
                <a:solidFill>
                  <a:srgbClr val="00B050"/>
                </a:solidFill>
                <a:cs typeface="Arial" panose="020B0604020202020204" pitchFamily="34" charset="0"/>
              </a:rPr>
              <a:t>Математическая информация и мотивация учения </a:t>
            </a:r>
            <a:br>
              <a:rPr lang="ru-RU" sz="4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23929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DE4A984-A3DA-4247-AA55-ACA28B627165}"/>
              </a:ext>
            </a:extLst>
          </p:cNvPr>
          <p:cNvSpPr txBox="1"/>
          <p:nvPr/>
        </p:nvSpPr>
        <p:spPr>
          <a:xfrm>
            <a:off x="203201" y="1305039"/>
            <a:ext cx="7442200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rgbClr val="00B05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ервоклассники</a:t>
            </a:r>
            <a:r>
              <a:rPr lang="ru-RU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наблюдают действие измерительных приборов. </a:t>
            </a:r>
          </a:p>
          <a:p>
            <a:r>
              <a:rPr lang="ru-RU" sz="2400" dirty="0">
                <a:solidFill>
                  <a:srgbClr val="00B05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тороклассники</a:t>
            </a:r>
            <a:r>
              <a:rPr lang="ru-RU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характеризуют назначение и используют простейшие измерительные приборы. </a:t>
            </a:r>
            <a:endParaRPr lang="ru-RU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2400" dirty="0">
                <a:solidFill>
                  <a:srgbClr val="00B05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ретьеклассники</a:t>
            </a:r>
            <a:r>
              <a:rPr lang="ru-RU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работая совместно, определяют с помощью цифровых и аналоговых приборов, измерительных инструментов длину, массу, время.</a:t>
            </a:r>
            <a:endParaRPr lang="ru-RU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2400" dirty="0">
                <a:solidFill>
                  <a:srgbClr val="00B05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Четвероклассники</a:t>
            </a:r>
            <a:r>
              <a:rPr lang="ru-RU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способны определить с </a:t>
            </a:r>
          </a:p>
          <a:p>
            <a:r>
              <a:rPr lang="ru-RU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мощью цифровых и аналоговых приборов и их моделей массу предмета, температуру, скорость движения транспортного средства, вместимость.</a:t>
            </a:r>
            <a:endParaRPr lang="ru-RU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40369A42-33E3-4D00-B16B-74D4C1770D5C}"/>
              </a:ext>
            </a:extLst>
          </p:cNvPr>
          <p:cNvSpPr txBox="1">
            <a:spLocks/>
          </p:cNvSpPr>
          <p:nvPr/>
        </p:nvSpPr>
        <p:spPr>
          <a:xfrm>
            <a:off x="1379959" y="153526"/>
            <a:ext cx="10056856" cy="115151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 defTabSz="844083" rtl="0" eaLnBrk="1" latinLnBrk="0" hangingPunct="1">
              <a:spcBef>
                <a:spcPct val="0"/>
              </a:spcBef>
              <a:buNone/>
              <a:defRPr sz="406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sz="32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1FF24CF-2B59-48C1-BA0F-66DDC08BC1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6716" y="2930559"/>
            <a:ext cx="5068784" cy="3773915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B5A88373-DF52-4A4E-A222-5B5AAF4DB0AB}"/>
              </a:ext>
            </a:extLst>
          </p:cNvPr>
          <p:cNvSpPr/>
          <p:nvPr/>
        </p:nvSpPr>
        <p:spPr>
          <a:xfrm>
            <a:off x="3794790" y="6461495"/>
            <a:ext cx="3455626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350" b="1" dirty="0">
                <a:hlinkClick r:id="rId3"/>
              </a:rPr>
              <a:t>Материал из пособия: </a:t>
            </a:r>
            <a:r>
              <a:rPr lang="en-US" sz="1350" b="1" dirty="0">
                <a:hlinkClick r:id="rId3"/>
              </a:rPr>
              <a:t>https://clck.ru/TJfRw</a:t>
            </a:r>
            <a:r>
              <a:rPr lang="ru-RU" sz="1350" b="1" dirty="0"/>
              <a:t> 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F52C761-F2E8-4A67-9BBF-ED849303DB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dirty="0"/>
              <a:t>Универсальные учебные действия.</a:t>
            </a:r>
            <a:br>
              <a:rPr lang="ru-RU" dirty="0"/>
            </a:br>
            <a:r>
              <a:rPr lang="ru-RU" dirty="0"/>
              <a:t>Пример. «Измерять»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4D073810-5AA5-4341-8992-1EC792671E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72699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CB46C707-D2FA-4CF1-AC3D-F80A15AEB2B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30"/>
          <a:stretch/>
        </p:blipFill>
        <p:spPr>
          <a:xfrm>
            <a:off x="1394863" y="3250870"/>
            <a:ext cx="9016671" cy="3135161"/>
          </a:xfrm>
          <a:prstGeom prst="rect">
            <a:avLst/>
          </a:prstGeom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F390F8E9-010A-4B1F-B3D0-993C0E3A72B2}"/>
              </a:ext>
            </a:extLst>
          </p:cNvPr>
          <p:cNvSpPr txBox="1">
            <a:spLocks/>
          </p:cNvSpPr>
          <p:nvPr/>
        </p:nvSpPr>
        <p:spPr>
          <a:xfrm>
            <a:off x="1950737" y="1219947"/>
            <a:ext cx="7904924" cy="718169"/>
          </a:xfrm>
          <a:prstGeom prst="rect">
            <a:avLst/>
          </a:prstGeom>
          <a:noFill/>
        </p:spPr>
        <p:txBody>
          <a:bodyPr vert="horz" lIns="68580" tIns="34290" rIns="68580" bIns="34290" rtlCol="0" anchor="ctr">
            <a:noAutofit/>
          </a:bodyPr>
          <a:lstStyle>
            <a:lvl1pPr algn="ctr" defTabSz="844083" rtl="0" eaLnBrk="1" latinLnBrk="0" hangingPunct="1">
              <a:spcBef>
                <a:spcPct val="0"/>
              </a:spcBef>
              <a:buNone/>
              <a:defRPr sz="406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sz="2400" b="1" dirty="0">
              <a:solidFill>
                <a:srgbClr val="0072B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04543D0-F9B3-4497-BC0A-8E4733693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052" y="708661"/>
            <a:ext cx="10748291" cy="2542210"/>
          </a:xfrm>
        </p:spPr>
        <p:txBody>
          <a:bodyPr>
            <a:normAutofit/>
          </a:bodyPr>
          <a:lstStyle/>
          <a:p>
            <a:pPr algn="ctr"/>
            <a:r>
              <a:rPr lang="ru-RU" dirty="0"/>
              <a:t>Совместная деятельность как метапредметный результат обучения</a:t>
            </a:r>
            <a:br>
              <a:rPr lang="ru-RU" dirty="0"/>
            </a:br>
            <a:r>
              <a:rPr lang="ru-RU" dirty="0"/>
              <a:t>(Рабочая программа по математике. 1- 4, 2021)</a:t>
            </a:r>
            <a:br>
              <a:rPr lang="ru-RU" dirty="0"/>
            </a:br>
            <a:r>
              <a:rPr lang="ru-RU" dirty="0"/>
              <a:t>4 класс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1B274E29-1150-49EE-B564-07E99D1657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68188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767496E-B138-401B-B085-5EA0712A9B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199" y="147918"/>
            <a:ext cx="9864753" cy="6562164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B7D8979-A090-4D2B-9825-21D37DF27B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968" y="160203"/>
            <a:ext cx="10748291" cy="546755"/>
          </a:xfrm>
        </p:spPr>
        <p:txBody>
          <a:bodyPr>
            <a:normAutofit fontScale="90000"/>
          </a:bodyPr>
          <a:lstStyle/>
          <a:p>
            <a:r>
              <a:rPr lang="ru-RU" dirty="0"/>
              <a:t>Пример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92F1C07-56A5-49F8-B3E0-81BABC04196B}"/>
              </a:ext>
            </a:extLst>
          </p:cNvPr>
          <p:cNvSpPr txBox="1"/>
          <p:nvPr/>
        </p:nvSpPr>
        <p:spPr>
          <a:xfrm flipH="1">
            <a:off x="3264582" y="6211669"/>
            <a:ext cx="75990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Региональное исследование. Центр оценки качества образования ФГБНУ «Институт стратегии развития образования РАО». 2020 г.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8A519880-FC29-424F-BAFB-786F43592F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5783" y="345386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220906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5"/>
          <p:cNvSpPr>
            <a:spLocks noGrp="1"/>
          </p:cNvSpPr>
          <p:nvPr>
            <p:ph type="title"/>
          </p:nvPr>
        </p:nvSpPr>
        <p:spPr>
          <a:xfrm>
            <a:off x="1981200" y="214314"/>
            <a:ext cx="8229600" cy="910431"/>
          </a:xfrm>
        </p:spPr>
        <p:txBody>
          <a:bodyPr>
            <a:normAutofit/>
          </a:bodyPr>
          <a:lstStyle/>
          <a:p>
            <a:r>
              <a:rPr lang="en-US" sz="3200" dirty="0"/>
              <a:t>TIMSS-2011</a:t>
            </a:r>
            <a:endParaRPr lang="ru-RU" sz="3200" dirty="0"/>
          </a:p>
        </p:txBody>
      </p:sp>
      <p:graphicFrame>
        <p:nvGraphicFramePr>
          <p:cNvPr id="5" name="Содержимое 4"/>
          <p:cNvGraphicFramePr>
            <a:graphicFrameLocks noGrp="1"/>
          </p:cNvGraphicFramePr>
          <p:nvPr>
            <p:ph idx="1"/>
          </p:nvPr>
        </p:nvGraphicFramePr>
        <p:xfrm>
          <a:off x="1068779" y="1600200"/>
          <a:ext cx="9856520" cy="4425328"/>
        </p:xfrm>
        <a:graphic>
          <a:graphicData uri="http://schemas.openxmlformats.org/drawingml/2006/table">
            <a:tbl>
              <a:tblPr/>
              <a:tblGrid>
                <a:gridCol w="44318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247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92696">
                <a:tc>
                  <a:txBody>
                    <a:bodyPr/>
                    <a:lstStyle/>
                    <a:p>
                      <a:pPr marL="228600" algn="just">
                        <a:spcAft>
                          <a:spcPts val="0"/>
                        </a:spcAft>
                      </a:pPr>
                      <a:r>
                        <a:rPr lang="ru-RU" sz="2000" i="1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Задание 1. Успешность выполнения 80%</a:t>
                      </a:r>
                      <a:endParaRPr lang="ru-RU" sz="2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7214" marR="6721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28600" algn="just">
                        <a:spcAft>
                          <a:spcPts val="0"/>
                        </a:spcAft>
                      </a:pPr>
                      <a:r>
                        <a:rPr lang="ru-RU" sz="2000" i="1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Задание 2. Успешность выполнения 71% </a:t>
                      </a:r>
                      <a:endParaRPr lang="ru-RU" sz="2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7214" marR="6721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32632">
                <a:tc>
                  <a:txBody>
                    <a:bodyPr/>
                    <a:lstStyle/>
                    <a:p>
                      <a:pPr marL="228600" algn="just">
                        <a:spcAft>
                          <a:spcPts val="0"/>
                        </a:spcAft>
                      </a:pPr>
                      <a:r>
                        <a:rPr lang="ru-RU" sz="18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На рисунке изображена последовательность, состоящая из четырех фигур.</a:t>
                      </a:r>
                    </a:p>
                    <a:p>
                      <a:pPr marL="228600" algn="just">
                        <a:spcAft>
                          <a:spcPts val="0"/>
                        </a:spcAft>
                      </a:pPr>
                      <a:r>
                        <a:rPr lang="ru-RU" sz="18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Из скольких кругов будет состоять фигура 5? Ответ: ____</a:t>
                      </a:r>
                    </a:p>
                  </a:txBody>
                  <a:tcPr marL="67214" marR="6721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28600" algn="just">
                        <a:spcAft>
                          <a:spcPts val="0"/>
                        </a:spcAft>
                      </a:pPr>
                      <a:endParaRPr lang="ru-RU" sz="2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marL="228600" algn="just">
                        <a:spcAft>
                          <a:spcPts val="0"/>
                        </a:spcAft>
                      </a:pPr>
                      <a:endParaRPr lang="ru-RU" sz="2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marL="228600" algn="just">
                        <a:spcAft>
                          <a:spcPts val="0"/>
                        </a:spcAft>
                      </a:pPr>
                      <a:endParaRPr lang="ru-RU" sz="2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marL="228600" algn="just">
                        <a:spcAft>
                          <a:spcPts val="0"/>
                        </a:spcAft>
                      </a:pPr>
                      <a:endParaRPr lang="ru-RU" sz="2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marL="228600" algn="just">
                        <a:spcAft>
                          <a:spcPts val="0"/>
                        </a:spcAft>
                      </a:pPr>
                      <a:endParaRPr lang="ru-RU" sz="2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marL="22860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marL="22860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  <a:p>
                      <a:pPr marL="22860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Нарисуй фигуру 5.</a:t>
                      </a:r>
                    </a:p>
                    <a:p>
                      <a:pPr marL="228600" algn="just">
                        <a:spcAft>
                          <a:spcPts val="0"/>
                        </a:spcAft>
                      </a:pPr>
                      <a:endParaRPr lang="ru-RU" sz="2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7214" marR="6721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15</a:t>
            </a:fld>
            <a:endParaRPr lang="ru-RU"/>
          </a:p>
        </p:txBody>
      </p:sp>
      <p:pic>
        <p:nvPicPr>
          <p:cNvPr id="103426" name="Рисунок 2"/>
          <p:cNvPicPr>
            <a:picLocks noChangeAspect="1" noChangeArrowheads="1"/>
          </p:cNvPicPr>
          <p:nvPr/>
        </p:nvPicPr>
        <p:blipFill>
          <a:blip r:embed="rId2"/>
          <a:srcRect l="8340" r="17947" b="35448"/>
          <a:stretch>
            <a:fillRect/>
          </a:stretch>
        </p:blipFill>
        <p:spPr bwMode="auto">
          <a:xfrm>
            <a:off x="1241886" y="4030864"/>
            <a:ext cx="3720976" cy="1226936"/>
          </a:xfrm>
          <a:prstGeom prst="rect">
            <a:avLst/>
          </a:prstGeom>
          <a:noFill/>
        </p:spPr>
      </p:pic>
      <p:pic>
        <p:nvPicPr>
          <p:cNvPr id="103425" name="Рисунок 1"/>
          <p:cNvPicPr>
            <a:picLocks noChangeAspect="1" noChangeArrowheads="1"/>
          </p:cNvPicPr>
          <p:nvPr/>
        </p:nvPicPr>
        <p:blipFill>
          <a:blip r:embed="rId3"/>
          <a:srcRect l="10115" b="27130"/>
          <a:stretch>
            <a:fillRect/>
          </a:stretch>
        </p:blipFill>
        <p:spPr bwMode="auto">
          <a:xfrm>
            <a:off x="5652655" y="2662228"/>
            <a:ext cx="4916384" cy="1767268"/>
          </a:xfrm>
          <a:prstGeom prst="rect">
            <a:avLst/>
          </a:prstGeom>
          <a:noFill/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C57542CF-D901-49A9-966D-D6F2BC89C6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348988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CB9008BC-C38B-4FA1-8B86-3A70A4340F65}"/>
              </a:ext>
            </a:extLst>
          </p:cNvPr>
          <p:cNvSpPr txBox="1"/>
          <p:nvPr/>
        </p:nvSpPr>
        <p:spPr>
          <a:xfrm flipH="1">
            <a:off x="1385287" y="6168823"/>
            <a:ext cx="75990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Региональное исследование. Центр оценки качества образования ФГБНУ «Институт стратегии развития образования РАО». 2020 г.</a:t>
            </a:r>
          </a:p>
        </p:txBody>
      </p:sp>
      <p:pic>
        <p:nvPicPr>
          <p:cNvPr id="10" name="Рисунок 9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A82BAE6E-3693-453B-A685-3CAC6A0A923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60"/>
          <a:stretch/>
        </p:blipFill>
        <p:spPr>
          <a:xfrm>
            <a:off x="874316" y="2416082"/>
            <a:ext cx="10110437" cy="2025835"/>
          </a:xfrm>
          <a:prstGeom prst="rect">
            <a:avLst/>
          </a:prstGeom>
        </p:spPr>
      </p:pic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5754273E-0A9F-41BB-AAB5-728A0F588FDC}"/>
              </a:ext>
            </a:extLst>
          </p:cNvPr>
          <p:cNvSpPr txBox="1">
            <a:spLocks/>
          </p:cNvSpPr>
          <p:nvPr/>
        </p:nvSpPr>
        <p:spPr>
          <a:xfrm>
            <a:off x="1385287" y="1436191"/>
            <a:ext cx="8640000" cy="68670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3000" b="1" dirty="0">
              <a:solidFill>
                <a:srgbClr val="0072B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B4246A99-A4A5-49F5-A4DE-A12914661C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b="1" dirty="0">
                <a:solidFill>
                  <a:srgbClr val="0072B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мер задания мониторинга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FBD01B1E-5BAF-40DF-8A99-52F1D0BDD06F}"/>
              </a:ext>
            </a:extLst>
          </p:cNvPr>
          <p:cNvSpPr>
            <a:spLocks noGrp="1"/>
          </p:cNvSpPr>
          <p:nvPr>
            <p:ph type="body" sz="half" idx="13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85B94653-1E34-40DC-81C2-1CF36B5A37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997306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721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577"/>
          <a:stretch/>
        </p:blipFill>
        <p:spPr bwMode="auto">
          <a:xfrm>
            <a:off x="7104113" y="2427587"/>
            <a:ext cx="4411479" cy="43445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72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8796" y="260648"/>
            <a:ext cx="5415317" cy="6532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5871" y="353615"/>
            <a:ext cx="1442297" cy="19045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FF676F4C-E07C-4A22-B9E8-73E3ABCB89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36566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oup 32">
            <a:extLst>
              <a:ext uri="{FF2B5EF4-FFF2-40B4-BE49-F238E27FC236}">
                <a16:creationId xmlns:a16="http://schemas.microsoft.com/office/drawing/2014/main" id="{BA7A0FCC-C331-4DF0-9D5B-A17FE5B8ECD2}"/>
              </a:ext>
            </a:extLst>
          </p:cNvPr>
          <p:cNvGraphicFramePr>
            <a:graphicFrameLocks/>
          </p:cNvGraphicFramePr>
          <p:nvPr/>
        </p:nvGraphicFramePr>
        <p:xfrm>
          <a:off x="353503" y="1889909"/>
          <a:ext cx="11484991" cy="4455445"/>
        </p:xfrm>
        <a:graphic>
          <a:graphicData uri="http://schemas.openxmlformats.org/drawingml/2006/table">
            <a:tbl>
              <a:tblPr/>
              <a:tblGrid>
                <a:gridCol w="152682">
                  <a:extLst>
                    <a:ext uri="{9D8B030D-6E8A-4147-A177-3AD203B41FA5}">
                      <a16:colId xmlns:a16="http://schemas.microsoft.com/office/drawing/2014/main" val="466763314"/>
                    </a:ext>
                  </a:extLst>
                </a:gridCol>
                <a:gridCol w="4707392">
                  <a:extLst>
                    <a:ext uri="{9D8B030D-6E8A-4147-A177-3AD203B41FA5}">
                      <a16:colId xmlns:a16="http://schemas.microsoft.com/office/drawing/2014/main" val="3556844240"/>
                    </a:ext>
                  </a:extLst>
                </a:gridCol>
                <a:gridCol w="6624917">
                  <a:extLst>
                    <a:ext uri="{9D8B030D-6E8A-4147-A177-3AD203B41FA5}">
                      <a16:colId xmlns:a16="http://schemas.microsoft.com/office/drawing/2014/main" val="871921134"/>
                    </a:ext>
                  </a:extLst>
                </a:gridCol>
              </a:tblGrid>
              <a:tr h="739208">
                <a:tc>
                  <a:txBody>
                    <a:bodyPr/>
                    <a:lstStyle/>
                    <a:p>
                      <a:pPr marL="523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2" charset="0"/>
                        <a:ea typeface="Times New Roman" pitchFamily="2" charset="0"/>
                        <a:cs typeface="Times New Roman" pitchFamily="2" charset="0"/>
                      </a:endParaRPr>
                    </a:p>
                  </a:txBody>
                  <a:tcPr marL="60716" marR="60716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5"/>
                    </a:solidFill>
                  </a:tcPr>
                </a:tc>
                <a:tc>
                  <a:txBody>
                    <a:bodyPr/>
                    <a:lstStyle/>
                    <a:p>
                      <a:pPr marL="635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2" charset="0"/>
                          <a:ea typeface="Times New Roman" pitchFamily="2" charset="0"/>
                          <a:cs typeface="Times New Roman" pitchFamily="2" charset="0"/>
                        </a:rPr>
                        <a:t>1-4 класс</a:t>
                      </a:r>
                    </a:p>
                  </a:txBody>
                  <a:tcPr marL="60716" marR="6071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класс</a:t>
                      </a:r>
                    </a:p>
                  </a:txBody>
                  <a:tcPr marL="60716" marR="6071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6237533"/>
                  </a:ext>
                </a:extLst>
              </a:tr>
              <a:tr h="1333717">
                <a:tc>
                  <a:txBody>
                    <a:bodyPr/>
                    <a:lstStyle>
                      <a:lvl1pPr marL="52388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523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2" charset="0"/>
                        <a:ea typeface="Times New Roman" pitchFamily="2" charset="0"/>
                        <a:cs typeface="Times New Roman" pitchFamily="2" charset="0"/>
                      </a:endParaRPr>
                    </a:p>
                  </a:txBody>
                  <a:tcPr marL="60716" marR="60716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5"/>
                    </a:solidFill>
                  </a:tcPr>
                </a:tc>
                <a:tc>
                  <a:txBody>
                    <a:bodyPr/>
                    <a:lstStyle>
                      <a:lvl1pPr marL="635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63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600" b="0" i="1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itchFamily="2" charset="0"/>
                          <a:cs typeface="Calibri" panose="020F0502020204030204" pitchFamily="34" charset="0"/>
                        </a:rPr>
                        <a:t>Числа и величины</a:t>
                      </a:r>
                      <a:endParaRPr kumimoji="0" lang="ru-RU" altLang="ru-RU" sz="2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itchFamily="2" charset="0"/>
                        <a:cs typeface="Calibri" panose="020F0502020204030204" pitchFamily="34" charset="0"/>
                      </a:endParaRPr>
                    </a:p>
                    <a:p>
                      <a:pPr marL="63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600" b="0" i="1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itchFamily="2" charset="0"/>
                          <a:cs typeface="Calibri" panose="020F0502020204030204" pitchFamily="34" charset="0"/>
                        </a:rPr>
                        <a:t>Арифметические действия</a:t>
                      </a:r>
                      <a:endParaRPr kumimoji="0" lang="ru-RU" altLang="ru-RU" sz="2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itchFamily="2" charset="0"/>
                        <a:cs typeface="Calibri" panose="020F0502020204030204" pitchFamily="34" charset="0"/>
                      </a:endParaRPr>
                    </a:p>
                    <a:p>
                      <a:pPr marL="63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600" b="0" i="1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itchFamily="2" charset="0"/>
                          <a:cs typeface="Calibri" panose="020F0502020204030204" pitchFamily="34" charset="0"/>
                        </a:rPr>
                        <a:t>Работа с текстовой задачей</a:t>
                      </a:r>
                      <a:endParaRPr kumimoji="0" lang="ru-RU" altLang="ru-RU" sz="2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itchFamily="2" charset="0"/>
                        <a:cs typeface="Calibri" panose="020F0502020204030204" pitchFamily="34" charset="0"/>
                      </a:endParaRPr>
                    </a:p>
                  </a:txBody>
                  <a:tcPr marL="60716" marR="6071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Натуральные числа и нуль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Дроб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Решение текстовых задач</a:t>
                      </a:r>
                    </a:p>
                  </a:txBody>
                  <a:tcPr marL="60716" marR="6071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8459830"/>
                  </a:ext>
                </a:extLst>
              </a:tr>
              <a:tr h="1193800">
                <a:tc>
                  <a:txBody>
                    <a:bodyPr/>
                    <a:lstStyle>
                      <a:lvl1pPr marL="52388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523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2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2" charset="0"/>
                        <a:ea typeface="Times New Roman" pitchFamily="2" charset="0"/>
                        <a:cs typeface="Times New Roman" pitchFamily="2" charset="0"/>
                      </a:endParaRPr>
                    </a:p>
                  </a:txBody>
                  <a:tcPr marL="60716" marR="60716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7EB"/>
                    </a:solidFill>
                  </a:tcPr>
                </a:tc>
                <a:tc>
                  <a:txBody>
                    <a:bodyPr/>
                    <a:lstStyle>
                      <a:lvl1pPr marL="635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63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600" b="0" i="1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itchFamily="2" charset="0"/>
                          <a:cs typeface="Calibri" panose="020F0502020204030204" pitchFamily="34" charset="0"/>
                        </a:rPr>
                        <a:t>Пространственные отношения. Геометрические фигуры</a:t>
                      </a:r>
                      <a:endParaRPr kumimoji="0" lang="ru-RU" altLang="ru-RU" sz="2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itchFamily="2" charset="0"/>
                        <a:cs typeface="Calibri" panose="020F0502020204030204" pitchFamily="34" charset="0"/>
                      </a:endParaRPr>
                    </a:p>
                  </a:txBody>
                  <a:tcPr marL="60716" marR="6071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Наглядная геометрия (фигуры в окружающем мире, многоугольнике, периметр и площадь фигуры, объем фигуры, симметрия).</a:t>
                      </a:r>
                    </a:p>
                  </a:txBody>
                  <a:tcPr marL="60716" marR="6071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8291703"/>
                  </a:ext>
                </a:extLst>
              </a:tr>
              <a:tr h="1007921">
                <a:tc>
                  <a:txBody>
                    <a:bodyPr/>
                    <a:lstStyle>
                      <a:lvl1pPr marL="52388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52388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2" charset="0"/>
                        <a:ea typeface="Times New Roman" pitchFamily="2" charset="0"/>
                        <a:cs typeface="Times New Roman" pitchFamily="2" charset="0"/>
                      </a:endParaRPr>
                    </a:p>
                  </a:txBody>
                  <a:tcPr marL="60716" marR="60716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5"/>
                    </a:solidFill>
                  </a:tcPr>
                </a:tc>
                <a:tc>
                  <a:txBody>
                    <a:bodyPr/>
                    <a:lstStyle>
                      <a:lvl1pPr marL="635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63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600" b="0" i="1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itchFamily="2" charset="0"/>
                          <a:cs typeface="Calibri" panose="020F0502020204030204" pitchFamily="34" charset="0"/>
                        </a:rPr>
                        <a:t>Математическая информация</a:t>
                      </a:r>
                      <a:endParaRPr kumimoji="0" lang="ru-RU" altLang="ru-RU" sz="2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itchFamily="2" charset="0"/>
                        <a:cs typeface="Calibri" panose="020F0502020204030204" pitchFamily="34" charset="0"/>
                      </a:endParaRPr>
                    </a:p>
                  </a:txBody>
                  <a:tcPr marL="60716" marR="6071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Решение текстовых задач (представление данных с помощью таблиц, столбчатых диаграмм)</a:t>
                      </a:r>
                    </a:p>
                  </a:txBody>
                  <a:tcPr marL="60716" marR="6071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750614"/>
                  </a:ext>
                </a:extLst>
              </a:tr>
            </a:tbl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32AD39F6-881A-4807-832D-04E3FFBEC4FA}"/>
              </a:ext>
            </a:extLst>
          </p:cNvPr>
          <p:cNvSpPr txBox="1">
            <a:spLocks/>
          </p:cNvSpPr>
          <p:nvPr/>
        </p:nvSpPr>
        <p:spPr>
          <a:xfrm>
            <a:off x="1164432" y="332766"/>
            <a:ext cx="9863135" cy="155714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 defTabSz="844083" rtl="0" eaLnBrk="1" latinLnBrk="0" hangingPunct="1">
              <a:spcBef>
                <a:spcPct val="0"/>
              </a:spcBef>
              <a:buNone/>
              <a:defRPr sz="406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600" b="1" dirty="0">
                <a:solidFill>
                  <a:srgbClr val="0072BC"/>
                </a:solidFill>
                <a:cs typeface="Calibri" panose="020F0502020204030204" pitchFamily="34" charset="0"/>
              </a:rPr>
              <a:t>Рабочие программы. Блоки содержания</a:t>
            </a:r>
          </a:p>
          <a:p>
            <a:pPr>
              <a:defRPr/>
            </a:pPr>
            <a:r>
              <a:rPr lang="ru-RU" sz="2600" b="1" dirty="0">
                <a:solidFill>
                  <a:srgbClr val="0072BC"/>
                </a:solidFill>
                <a:cs typeface="Calibri" panose="020F0502020204030204" pitchFamily="34" charset="0"/>
              </a:rPr>
              <a:t>(ФГОС НОО, ФГОС ООО)</a:t>
            </a:r>
          </a:p>
        </p:txBody>
      </p:sp>
      <p:pic>
        <p:nvPicPr>
          <p:cNvPr id="6" name="Рисунок 5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CB8A0B69-7BF2-464E-A777-2E2E6C4DD0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375" y="152972"/>
            <a:ext cx="1089649" cy="958366"/>
          </a:xfrm>
          <a:prstGeom prst="rect">
            <a:avLst/>
          </a:prstGeom>
        </p:spPr>
      </p:pic>
      <p:sp>
        <p:nvSpPr>
          <p:cNvPr id="4" name="Текст 3">
            <a:extLst>
              <a:ext uri="{FF2B5EF4-FFF2-40B4-BE49-F238E27FC236}">
                <a16:creationId xmlns:a16="http://schemas.microsoft.com/office/drawing/2014/main" id="{3920C611-06CB-4DD2-96B2-00F7D6999E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324946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34108" y="936625"/>
            <a:ext cx="10748291" cy="1073942"/>
          </a:xfrm>
        </p:spPr>
        <p:txBody>
          <a:bodyPr>
            <a:normAutofit fontScale="90000"/>
          </a:bodyPr>
          <a:lstStyle/>
          <a:p>
            <a:r>
              <a:rPr lang="ru-RU" dirty="0"/>
              <a:t>Каковы условия успешного формирования</a:t>
            </a:r>
            <a:br>
              <a:rPr lang="ru-RU" dirty="0"/>
            </a:br>
            <a:r>
              <a:rPr lang="ru-RU" dirty="0"/>
              <a:t> математической грамотности на уроке?</a:t>
            </a:r>
            <a:br>
              <a:rPr lang="ru-RU" dirty="0"/>
            </a:b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188C0-0690-4813-9C5A-23A3FA88CF27}" type="slidenum">
              <a:rPr lang="ru-RU" smtClean="0"/>
              <a:t>19</a:t>
            </a:fld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half" idx="13"/>
          </p:nvPr>
        </p:nvSpPr>
        <p:spPr/>
        <p:txBody>
          <a:bodyPr>
            <a:normAutofit lnSpcReduction="10000"/>
          </a:bodyPr>
          <a:lstStyle/>
          <a:p>
            <a:r>
              <a:rPr lang="ru-RU" dirty="0">
                <a:latin typeface="+mn-lt"/>
              </a:rPr>
              <a:t>Предметный уровень: создание опыта применения предметного умения в разнообразных учебных ситуациях.</a:t>
            </a:r>
          </a:p>
          <a:p>
            <a:r>
              <a:rPr lang="ru-RU" dirty="0">
                <a:latin typeface="+mn-lt"/>
              </a:rPr>
              <a:t>Метапредметный уровень: формирование и развитие опыта применения универсальных учебных действий</a:t>
            </a:r>
          </a:p>
          <a:p>
            <a:r>
              <a:rPr lang="ru-RU" dirty="0">
                <a:latin typeface="+mn-lt"/>
              </a:rPr>
              <a:t>Межпредметное взаимодействие: привлечение содержания и базовых учебных действий других предметных областей.</a:t>
            </a:r>
          </a:p>
          <a:p>
            <a:r>
              <a:rPr lang="ru-RU" dirty="0">
                <a:latin typeface="+mn-lt"/>
              </a:rPr>
              <a:t>Мотивация к активному использованию математики: анализ опыта и полученных решений (своих и чужих), стимулирование поиска «точек» применения математики</a:t>
            </a:r>
          </a:p>
          <a:p>
            <a:r>
              <a:rPr lang="ru-RU" dirty="0">
                <a:latin typeface="+mn-lt"/>
              </a:rPr>
              <a:t>Учебное взаимодействие: использование различных форм организации обучения</a:t>
            </a:r>
          </a:p>
          <a:p>
            <a:endParaRPr lang="ru-RU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B32D5CFE-A75A-44B9-91F6-ADF67F21ED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6" descr="Изображение выглядит как человек, снимок экрана, держит, сидит&#10;&#10;Автоматически созданное описание">
            <a:extLst>
              <a:ext uri="{FF2B5EF4-FFF2-40B4-BE49-F238E27FC236}">
                <a16:creationId xmlns:a16="http://schemas.microsoft.com/office/drawing/2014/main" id="{E9BAC7B9-AD41-4E9A-9A78-32AE434030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7020" y="257545"/>
            <a:ext cx="1284644" cy="1699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7269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317DEC1-9707-4A93-95B2-824386221C20}"/>
              </a:ext>
            </a:extLst>
          </p:cNvPr>
          <p:cNvSpPr/>
          <p:nvPr/>
        </p:nvSpPr>
        <p:spPr>
          <a:xfrm>
            <a:off x="588218" y="1826156"/>
            <a:ext cx="11057682" cy="4451685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spcCol="360000" rtlCol="0" anchor="t" anchorCtr="0"/>
          <a:lstStyle/>
          <a:p>
            <a:endParaRPr lang="ru-RU" sz="2800" b="1" kern="0" dirty="0">
              <a:solidFill>
                <a:srgbClr val="1B3281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Таблица 2">
            <a:extLst>
              <a:ext uri="{FF2B5EF4-FFF2-40B4-BE49-F238E27FC236}">
                <a16:creationId xmlns:a16="http://schemas.microsoft.com/office/drawing/2014/main" id="{8071D6F6-A69D-4127-AFD5-932630F6A310}"/>
              </a:ext>
            </a:extLst>
          </p:cNvPr>
          <p:cNvGraphicFramePr>
            <a:graphicFrameLocks noGrp="1"/>
          </p:cNvGraphicFramePr>
          <p:nvPr/>
        </p:nvGraphicFramePr>
        <p:xfrm>
          <a:off x="453361" y="1795704"/>
          <a:ext cx="9258234" cy="30229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58234">
                  <a:extLst>
                    <a:ext uri="{9D8B030D-6E8A-4147-A177-3AD203B41FA5}">
                      <a16:colId xmlns:a16="http://schemas.microsoft.com/office/drawing/2014/main" val="1577931599"/>
                    </a:ext>
                  </a:extLst>
                </a:gridCol>
              </a:tblGrid>
              <a:tr h="409423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chemeClr val="tx1"/>
                          </a:solidFill>
                        </a:rPr>
                        <a:t>Изменения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738687"/>
                  </a:ext>
                </a:extLst>
              </a:tr>
              <a:tr h="409423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ru-RU" sz="2400" dirty="0">
                          <a:solidFill>
                            <a:schemeClr val="tx1"/>
                          </a:solidFill>
                        </a:rPr>
                        <a:t>Конкретизация требований к математической подготовке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621170"/>
                  </a:ext>
                </a:extLst>
              </a:tr>
              <a:tr h="409423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ru-RU" sz="2400" dirty="0">
                          <a:solidFill>
                            <a:schemeClr val="tx1"/>
                          </a:solidFill>
                        </a:rPr>
                        <a:t>Усиление отдельных предметных составляющих курса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4843694"/>
                  </a:ext>
                </a:extLst>
              </a:tr>
              <a:tr h="409423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ru-RU" sz="2400" dirty="0">
                          <a:solidFill>
                            <a:schemeClr val="tx1"/>
                          </a:solidFill>
                        </a:rPr>
                        <a:t>Акцент на деятельностной основе обучения.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7094791"/>
                  </a:ext>
                </a:extLst>
              </a:tr>
              <a:tr h="409423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ru-RU" sz="2400" dirty="0">
                          <a:solidFill>
                            <a:schemeClr val="tx1"/>
                          </a:solidFill>
                        </a:rPr>
                        <a:t>Планомерное формирование универсальных учебных действий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709746"/>
                  </a:ext>
                </a:extLst>
              </a:tr>
              <a:tr h="736962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2400" dirty="0">
                          <a:solidFill>
                            <a:schemeClr val="tx1"/>
                          </a:solidFill>
                        </a:rPr>
                        <a:t>Совместная деятельность школьников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5366009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40B9C43-5026-4FFD-AC49-CE535F7466E8}"/>
              </a:ext>
            </a:extLst>
          </p:cNvPr>
          <p:cNvSpPr txBox="1"/>
          <p:nvPr/>
        </p:nvSpPr>
        <p:spPr>
          <a:xfrm>
            <a:off x="9000827" y="5121288"/>
            <a:ext cx="1346200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dirty="0"/>
              <a:t>построения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06586D5-FF4E-4F2C-99AF-4FFEFBFBBEDB}"/>
              </a:ext>
            </a:extLst>
          </p:cNvPr>
          <p:cNvSpPr txBox="1"/>
          <p:nvPr/>
        </p:nvSpPr>
        <p:spPr>
          <a:xfrm>
            <a:off x="6355809" y="6255007"/>
            <a:ext cx="2336800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dirty="0"/>
              <a:t>оценка по критериям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8B1321-F20D-4969-9F3C-B6CDE446D2D2}"/>
              </a:ext>
            </a:extLst>
          </p:cNvPr>
          <p:cNvSpPr txBox="1"/>
          <p:nvPr/>
        </p:nvSpPr>
        <p:spPr>
          <a:xfrm>
            <a:off x="9389974" y="5903534"/>
            <a:ext cx="1346200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dirty="0"/>
              <a:t>измерения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5DD07D-CCE2-4666-82E9-C36936754734}"/>
              </a:ext>
            </a:extLst>
          </p:cNvPr>
          <p:cNvSpPr txBox="1"/>
          <p:nvPr/>
        </p:nvSpPr>
        <p:spPr>
          <a:xfrm>
            <a:off x="1840511" y="6088727"/>
            <a:ext cx="2855491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dirty="0"/>
              <a:t>примеры и контрпримеры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BFBACD5-9D81-4BDC-BA43-C376D276626F}"/>
              </a:ext>
            </a:extLst>
          </p:cNvPr>
          <p:cNvSpPr txBox="1"/>
          <p:nvPr/>
        </p:nvSpPr>
        <p:spPr>
          <a:xfrm>
            <a:off x="6208253" y="5115417"/>
            <a:ext cx="1346200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dirty="0"/>
              <a:t>алгоритмы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C5D77E-86F4-4239-B33D-0CD7E5132612}"/>
              </a:ext>
            </a:extLst>
          </p:cNvPr>
          <p:cNvSpPr txBox="1"/>
          <p:nvPr/>
        </p:nvSpPr>
        <p:spPr>
          <a:xfrm>
            <a:off x="2699425" y="5071776"/>
            <a:ext cx="2785641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dirty="0"/>
              <a:t>логические рассуждения</a:t>
            </a: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739C6C3C-8497-407E-8302-52CFD18D67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4108" y="899578"/>
            <a:ext cx="10748291" cy="552272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/>
              <a:t>2021. ФГОС НОО. Математика. Требования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7FBA682C-0FE8-47AB-B0CB-83494C73FFA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9617" y="1402337"/>
            <a:ext cx="3243518" cy="1941003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72C925DE-7596-4808-9405-3962A266CA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00632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 descr="Изображение выглядит как сидит&#10;&#10;Автоматически созданное описание">
            <a:extLst>
              <a:ext uri="{FF2B5EF4-FFF2-40B4-BE49-F238E27FC236}">
                <a16:creationId xmlns:a16="http://schemas.microsoft.com/office/drawing/2014/main" id="{65D002C0-DBA0-4130-8D3F-0CE8FEB6FC3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528"/>
          <a:stretch/>
        </p:blipFill>
        <p:spPr>
          <a:xfrm>
            <a:off x="985652" y="126750"/>
            <a:ext cx="5952601" cy="4909530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E8F58F38-CCA4-4ED7-A088-A771DEAF5A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5443" y="1202916"/>
            <a:ext cx="2429855" cy="2429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 descr="Изображение выглядит как стол&#10;&#10;Автоматически созданное описание">
            <a:extLst>
              <a:ext uri="{FF2B5EF4-FFF2-40B4-BE49-F238E27FC236}">
                <a16:creationId xmlns:a16="http://schemas.microsoft.com/office/drawing/2014/main" id="{EBA3D4F2-C09F-49AE-8633-15C477EEE45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59"/>
          <a:stretch/>
        </p:blipFill>
        <p:spPr>
          <a:xfrm>
            <a:off x="6938253" y="3847605"/>
            <a:ext cx="4697354" cy="2776768"/>
          </a:xfrm>
          <a:prstGeom prst="rect">
            <a:avLst/>
          </a:prstGeom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1016AC67-B48F-4986-AF50-F9DA8D0E66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526298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36A37B7-1C7E-4DB1-883D-E7EDD7FA650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4321"/>
          <a:stretch/>
        </p:blipFill>
        <p:spPr>
          <a:xfrm>
            <a:off x="312137" y="350232"/>
            <a:ext cx="6337066" cy="456700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BAAB097-5AE9-4940-9195-3735B4D53EB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6367"/>
          <a:stretch/>
        </p:blipFill>
        <p:spPr>
          <a:xfrm>
            <a:off x="6814458" y="223934"/>
            <a:ext cx="5154703" cy="2911152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CEC1C20-4EAC-44B0-BB62-65F6EC0BD4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5107" y="3425776"/>
            <a:ext cx="5801704" cy="567826"/>
          </a:xfrm>
          <a:prstGeom prst="rect">
            <a:avLst/>
          </a:prstGeom>
        </p:spPr>
      </p:pic>
      <p:pic>
        <p:nvPicPr>
          <p:cNvPr id="8" name="Рисунок 7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EAFEA41A-9BBC-4F51-B2FA-4B58C6E4C7C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957"/>
          <a:stretch/>
        </p:blipFill>
        <p:spPr>
          <a:xfrm>
            <a:off x="6256537" y="3938123"/>
            <a:ext cx="5794365" cy="1034589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23F503B-CCA1-4586-B761-CEFA789A93E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38" y="4086807"/>
            <a:ext cx="1559453" cy="1861665"/>
          </a:xfrm>
          <a:prstGeom prst="rect">
            <a:avLst/>
          </a:prstGeom>
        </p:spPr>
      </p:pic>
      <p:sp>
        <p:nvSpPr>
          <p:cNvPr id="5" name="Текст 4">
            <a:extLst>
              <a:ext uri="{FF2B5EF4-FFF2-40B4-BE49-F238E27FC236}">
                <a16:creationId xmlns:a16="http://schemas.microsoft.com/office/drawing/2014/main" id="{FB3D6523-6661-449D-BB74-B854B02C20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83301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D95EEF55-AE35-4092-9F99-5DD40FC20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932" y="93265"/>
            <a:ext cx="8617175" cy="5766219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51E71C5-A2D2-4FDC-A51C-0750D00AB4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68860" y="3181633"/>
            <a:ext cx="2033208" cy="2887009"/>
          </a:xfrm>
          <a:prstGeom prst="rect">
            <a:avLst/>
          </a:prstGeom>
        </p:spPr>
      </p:pic>
      <p:pic>
        <p:nvPicPr>
          <p:cNvPr id="6" name="Рисунок 5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91E62F3D-C3A0-47E8-9443-9309E7130B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76285" y="155856"/>
            <a:ext cx="3632487" cy="1327255"/>
          </a:xfrm>
          <a:prstGeom prst="rect">
            <a:avLst/>
          </a:prstGeom>
        </p:spPr>
      </p:pic>
      <p:sp>
        <p:nvSpPr>
          <p:cNvPr id="5" name="Текст 4">
            <a:extLst>
              <a:ext uri="{FF2B5EF4-FFF2-40B4-BE49-F238E27FC236}">
                <a16:creationId xmlns:a16="http://schemas.microsoft.com/office/drawing/2014/main" id="{F7F9A77D-5C0A-4182-83D8-E37975B93E9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037934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F8C8D118-A9BD-432D-BE99-2DEC992401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4108" y="352421"/>
            <a:ext cx="10748291" cy="861083"/>
          </a:xfrm>
        </p:spPr>
        <p:txBody>
          <a:bodyPr>
            <a:noAutofit/>
          </a:bodyPr>
          <a:lstStyle/>
          <a:p>
            <a:pPr algn="ctr"/>
            <a:r>
              <a:rPr lang="ru-RU" sz="3000" b="0" dirty="0">
                <a:solidFill>
                  <a:srgbClr val="0072B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упреждение трудностей</a:t>
            </a:r>
          </a:p>
        </p:txBody>
      </p:sp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CD6CFD97-43DA-44A5-B509-BBEEC108A92E}"/>
              </a:ext>
            </a:extLst>
          </p:cNvPr>
          <p:cNvSpPr txBox="1">
            <a:spLocks/>
          </p:cNvSpPr>
          <p:nvPr/>
        </p:nvSpPr>
        <p:spPr>
          <a:xfrm>
            <a:off x="4128756" y="1792154"/>
            <a:ext cx="8740080" cy="860612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суждение, идеи, хода, способа решения (перед или вместо выполнения действий)</a:t>
            </a:r>
          </a:p>
          <a:p>
            <a:endParaRPr lang="ru-RU" sz="1950" b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Заголовок 2">
            <a:extLst>
              <a:ext uri="{FF2B5EF4-FFF2-40B4-BE49-F238E27FC236}">
                <a16:creationId xmlns:a16="http://schemas.microsoft.com/office/drawing/2014/main" id="{A8458B2B-A0B1-4CB3-B033-B688B485781B}"/>
              </a:ext>
            </a:extLst>
          </p:cNvPr>
          <p:cNvSpPr txBox="1">
            <a:spLocks/>
          </p:cNvSpPr>
          <p:nvPr/>
        </p:nvSpPr>
        <p:spPr>
          <a:xfrm>
            <a:off x="242047" y="1288224"/>
            <a:ext cx="5933618" cy="551329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бота с текстом и структурой заданий.</a:t>
            </a:r>
          </a:p>
        </p:txBody>
      </p:sp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3BDDA342-EAD5-4CC6-8174-EF2BFA06D43B}"/>
              </a:ext>
            </a:extLst>
          </p:cNvPr>
          <p:cNvSpPr txBox="1">
            <a:spLocks/>
          </p:cNvSpPr>
          <p:nvPr/>
        </p:nvSpPr>
        <p:spPr>
          <a:xfrm>
            <a:off x="428065" y="2651365"/>
            <a:ext cx="7828430" cy="551329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зуализация данных и отношений (моделирование)</a:t>
            </a:r>
          </a:p>
          <a:p>
            <a:endParaRPr lang="ru-RU" sz="1950" b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Заголовок 2">
            <a:extLst>
              <a:ext uri="{FF2B5EF4-FFF2-40B4-BE49-F238E27FC236}">
                <a16:creationId xmlns:a16="http://schemas.microsoft.com/office/drawing/2014/main" id="{93F1E01A-BA07-4593-9458-32426F7FC5CC}"/>
              </a:ext>
            </a:extLst>
          </p:cNvPr>
          <p:cNvSpPr txBox="1">
            <a:spLocks/>
          </p:cNvSpPr>
          <p:nvPr/>
        </p:nvSpPr>
        <p:spPr>
          <a:xfrm>
            <a:off x="5174876" y="3409388"/>
            <a:ext cx="6842313" cy="896472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ментирование хода выполнения задания  (прослеживание логики «в слове»)</a:t>
            </a:r>
          </a:p>
          <a:p>
            <a:endParaRPr lang="ru-RU" sz="1950" b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F09889E5-CFCE-4EEE-9634-9550C93C13F3}"/>
              </a:ext>
            </a:extLst>
          </p:cNvPr>
          <p:cNvSpPr txBox="1">
            <a:spLocks/>
          </p:cNvSpPr>
          <p:nvPr/>
        </p:nvSpPr>
        <p:spPr>
          <a:xfrm>
            <a:off x="3576918" y="5964006"/>
            <a:ext cx="6710083" cy="551329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суждение критериев оценки результата</a:t>
            </a:r>
          </a:p>
          <a:p>
            <a:endParaRPr lang="ru-RU" sz="1950" b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9" name="Заголовок 2">
            <a:extLst>
              <a:ext uri="{FF2B5EF4-FFF2-40B4-BE49-F238E27FC236}">
                <a16:creationId xmlns:a16="http://schemas.microsoft.com/office/drawing/2014/main" id="{84395C32-0B43-412B-A9A7-B5C15C28C96B}"/>
              </a:ext>
            </a:extLst>
          </p:cNvPr>
          <p:cNvSpPr txBox="1">
            <a:spLocks/>
          </p:cNvSpPr>
          <p:nvPr/>
        </p:nvSpPr>
        <p:spPr>
          <a:xfrm>
            <a:off x="428065" y="4492718"/>
            <a:ext cx="8740080" cy="1380006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становление соответствия между полученным ответом и условием  (реальность, наименование, трактовка арифметического результата).</a:t>
            </a:r>
          </a:p>
          <a:p>
            <a:endParaRPr lang="ru-RU" sz="1950" b="1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63FB946B-B94F-4974-A081-E1C18AF3C9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520812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396" name="Рисунок 19" descr="http://www.schoolprospekt.ru/upload/iblock/065/065a87097766dbd1708dd07dc2005b05.jpe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775668" y="1337760"/>
            <a:ext cx="2076753" cy="2619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398" name="Рисунок 13" descr="https://ds04.infourok.ru/uploads/ex/10bd/0003e14c-41b507fb/640/img15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454503" y="4049678"/>
            <a:ext cx="3490368" cy="2619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16DCF4A-E2F7-47E2-B857-E2FACC92C13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093" y="188912"/>
            <a:ext cx="2903472" cy="81551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0DB6B8B-C129-4C84-8B87-FD0B875AD5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67990" y="3680602"/>
            <a:ext cx="4466435" cy="2952750"/>
          </a:xfrm>
          <a:prstGeom prst="rect">
            <a:avLst/>
          </a:prstGeom>
        </p:spPr>
      </p:pic>
      <p:pic>
        <p:nvPicPr>
          <p:cNvPr id="8" name="Picture 6">
            <a:extLst>
              <a:ext uri="{FF2B5EF4-FFF2-40B4-BE49-F238E27FC236}">
                <a16:creationId xmlns:a16="http://schemas.microsoft.com/office/drawing/2014/main" id="{831B3BF9-01DD-4593-95DE-843DDC079C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45" y="2936214"/>
            <a:ext cx="1821945" cy="2423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397" name="Рисунок 16" descr="https://knigamir.com/upload/iblock/cd5/cd50715113ba5fe9d1b56c3328c2b129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653561" y="4085414"/>
            <a:ext cx="2036762" cy="2547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392D1EEE-9BB2-44C7-B9A9-1DF7EAAADE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97" r="17977"/>
          <a:stretch/>
        </p:blipFill>
        <p:spPr bwMode="auto">
          <a:xfrm>
            <a:off x="199181" y="239320"/>
            <a:ext cx="1768809" cy="2431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AFA562D5-ADDC-4ADF-B80C-1421495D03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1616" y="963891"/>
            <a:ext cx="1583851" cy="2317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Рисунок 10" descr="Изображение выглядит как человек, снимок экрана, держит, сидит&#10;&#10;Автоматически созданное описание">
            <a:extLst>
              <a:ext uri="{FF2B5EF4-FFF2-40B4-BE49-F238E27FC236}">
                <a16:creationId xmlns:a16="http://schemas.microsoft.com/office/drawing/2014/main" id="{D074AE28-65B8-4009-85D9-79B5A5FBB3A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9233" y="239320"/>
            <a:ext cx="2002619" cy="2643519"/>
          </a:xfrm>
          <a:prstGeom prst="rect">
            <a:avLst/>
          </a:prstGeom>
        </p:spPr>
      </p:pic>
      <p:pic>
        <p:nvPicPr>
          <p:cNvPr id="12" name="Рисунок 26" descr="05-0354-02-РУ-варианты_1-2.jpg">
            <a:extLst>
              <a:ext uri="{FF2B5EF4-FFF2-40B4-BE49-F238E27FC236}">
                <a16:creationId xmlns:a16="http://schemas.microsoft.com/office/drawing/2014/main" id="{3408EC75-1F73-4565-9879-B54C422BD0C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119530" y="2277380"/>
            <a:ext cx="1257144" cy="1679791"/>
          </a:xfrm>
          <a:prstGeom prst="rect">
            <a:avLst/>
          </a:prstGeom>
          <a:noFill/>
          <a:ln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13" name="Picture 16" descr="Zakazat.ru Книги. Учебники, Учебная литература.">
            <a:extLst>
              <a:ext uri="{FF2B5EF4-FFF2-40B4-BE49-F238E27FC236}">
                <a16:creationId xmlns:a16="http://schemas.microsoft.com/office/drawing/2014/main" id="{82CC0D29-6421-419B-9593-C4165B7A19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3783" y="2105617"/>
            <a:ext cx="1228065" cy="1897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Текст 3">
            <a:extLst>
              <a:ext uri="{FF2B5EF4-FFF2-40B4-BE49-F238E27FC236}">
                <a16:creationId xmlns:a16="http://schemas.microsoft.com/office/drawing/2014/main" id="{1B86D389-6A82-43AD-8FB5-EB7448456B0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FB1106D-D75E-4D91-A10D-D8E81C175A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3188C0-0690-4813-9C5A-23A3FA88CF27}" type="slidenum">
              <a:rPr lang="ru-RU" smtClean="0"/>
              <a:t>3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FC1D8F2-B366-4BB3-B916-9398433066E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337"/>
          <a:stretch/>
        </p:blipFill>
        <p:spPr>
          <a:xfrm>
            <a:off x="1272722" y="4475290"/>
            <a:ext cx="8508756" cy="148338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B77708B-61C4-4606-B9D1-C4183A771CE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8878" y="718301"/>
            <a:ext cx="3812052" cy="2281228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45B7F74-321B-454A-91CF-7025E647E17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4063"/>
          <a:stretch/>
        </p:blipFill>
        <p:spPr>
          <a:xfrm>
            <a:off x="735356" y="3361944"/>
            <a:ext cx="9583487" cy="1009601"/>
          </a:xfrm>
          <a:prstGeom prst="rect">
            <a:avLst/>
          </a:prstGeom>
        </p:spPr>
      </p:pic>
      <p:sp>
        <p:nvSpPr>
          <p:cNvPr id="11" name="Заголовок 4">
            <a:extLst>
              <a:ext uri="{FF2B5EF4-FFF2-40B4-BE49-F238E27FC236}">
                <a16:creationId xmlns:a16="http://schemas.microsoft.com/office/drawing/2014/main" id="{CE707264-DF14-4C02-BC82-B7996E5220E6}"/>
              </a:ext>
            </a:extLst>
          </p:cNvPr>
          <p:cNvSpPr txBox="1">
            <a:spLocks/>
          </p:cNvSpPr>
          <p:nvPr/>
        </p:nvSpPr>
        <p:spPr>
          <a:xfrm>
            <a:off x="834108" y="952392"/>
            <a:ext cx="8387951" cy="14451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3600" b="1" kern="120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dirty="0"/>
              <a:t>2021. ФГОС НОО. Математика. </a:t>
            </a:r>
          </a:p>
          <a:p>
            <a:pPr algn="ctr"/>
            <a:r>
              <a:rPr lang="ru-RU" dirty="0"/>
              <a:t>Требования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494FBA98-FBFD-4946-883A-67F12AA259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342688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317DEC1-9707-4A93-95B2-824386221C20}"/>
              </a:ext>
            </a:extLst>
          </p:cNvPr>
          <p:cNvSpPr/>
          <p:nvPr/>
        </p:nvSpPr>
        <p:spPr>
          <a:xfrm>
            <a:off x="588218" y="1826156"/>
            <a:ext cx="11057682" cy="4451685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spcCol="360000" rtlCol="0" anchor="t" anchorCtr="0"/>
          <a:lstStyle/>
          <a:p>
            <a:endParaRPr lang="ru-RU" sz="2800" b="1" kern="0" dirty="0">
              <a:solidFill>
                <a:srgbClr val="1B3281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Таблица 2">
            <a:extLst>
              <a:ext uri="{FF2B5EF4-FFF2-40B4-BE49-F238E27FC236}">
                <a16:creationId xmlns:a16="http://schemas.microsoft.com/office/drawing/2014/main" id="{8071D6F6-A69D-4127-AFD5-932630F6A3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4552996"/>
              </p:ext>
            </p:extLst>
          </p:nvPr>
        </p:nvGraphicFramePr>
        <p:xfrm>
          <a:off x="1028700" y="2390838"/>
          <a:ext cx="10134600" cy="3322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92699">
                  <a:extLst>
                    <a:ext uri="{9D8B030D-6E8A-4147-A177-3AD203B41FA5}">
                      <a16:colId xmlns:a16="http://schemas.microsoft.com/office/drawing/2014/main" val="3641358574"/>
                    </a:ext>
                  </a:extLst>
                </a:gridCol>
                <a:gridCol w="5041901">
                  <a:extLst>
                    <a:ext uri="{9D8B030D-6E8A-4147-A177-3AD203B41FA5}">
                      <a16:colId xmlns:a16="http://schemas.microsoft.com/office/drawing/2014/main" val="15779315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Стандарт 2009 г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Стандарт 2021 г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7386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Числа и величины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Числа и величины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6211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Арифметические действия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Арифметические действия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4843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Работа с текстовыми задачами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Текстовые задачи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70947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Пространственные отношения. Геометрические фигуры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Пространственные отношения. Геометрические фигуры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6330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Геометрические величины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21696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Работа с информацией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Математическая информация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0644421"/>
                  </a:ext>
                </a:extLst>
              </a:tr>
            </a:tbl>
          </a:graphicData>
        </a:graphic>
      </p:graphicFrame>
      <p:sp>
        <p:nvSpPr>
          <p:cNvPr id="5" name="Текст 4">
            <a:extLst>
              <a:ext uri="{FF2B5EF4-FFF2-40B4-BE49-F238E27FC236}">
                <a16:creationId xmlns:a16="http://schemas.microsoft.com/office/drawing/2014/main" id="{E8A47F47-7EBD-4354-A612-B22833A4F2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04AD2F05-200B-4910-9370-E8E5626A8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733" y="1024599"/>
            <a:ext cx="11520000" cy="785818"/>
          </a:xfrm>
        </p:spPr>
        <p:txBody>
          <a:bodyPr>
            <a:noAutofit/>
          </a:bodyPr>
          <a:lstStyle/>
          <a:p>
            <a:pPr algn="ctr"/>
            <a:r>
              <a:rPr lang="ru-RU" sz="3200" b="1" dirty="0">
                <a:solidFill>
                  <a:srgbClr val="0072BC"/>
                </a:solidFill>
                <a:cs typeface="Arial" panose="020B0604020202020204" pitchFamily="34" charset="0"/>
              </a:rPr>
              <a:t>Рабочая программа. </a:t>
            </a:r>
            <a:br>
              <a:rPr lang="ru-RU" sz="3200" b="1" dirty="0">
                <a:solidFill>
                  <a:srgbClr val="0072BC"/>
                </a:solidFill>
                <a:cs typeface="Arial" panose="020B0604020202020204" pitchFamily="34" charset="0"/>
              </a:rPr>
            </a:br>
            <a:r>
              <a:rPr lang="ru-RU" sz="3200" b="1" dirty="0">
                <a:solidFill>
                  <a:srgbClr val="0072BC"/>
                </a:solidFill>
                <a:cs typeface="Arial" panose="020B0604020202020204" pitchFamily="34" charset="0"/>
              </a:rPr>
              <a:t>Структура курса. Блоки содержания</a:t>
            </a:r>
            <a:br>
              <a:rPr lang="ru-RU" sz="3200" b="1" dirty="0">
                <a:solidFill>
                  <a:srgbClr val="0072BC"/>
                </a:solidFill>
                <a:cs typeface="Arial" panose="020B0604020202020204" pitchFamily="34" charset="0"/>
              </a:rPr>
            </a:br>
            <a:endParaRPr lang="ru-RU" sz="3200" dirty="0"/>
          </a:p>
        </p:txBody>
      </p:sp>
    </p:spTree>
    <p:extLst>
      <p:ext uri="{BB962C8B-B14F-4D97-AF65-F5344CB8AC3E}">
        <p14:creationId xmlns:p14="http://schemas.microsoft.com/office/powerpoint/2010/main" val="2889029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317DEC1-9707-4A93-95B2-824386221C20}"/>
              </a:ext>
            </a:extLst>
          </p:cNvPr>
          <p:cNvSpPr/>
          <p:nvPr/>
        </p:nvSpPr>
        <p:spPr>
          <a:xfrm>
            <a:off x="588218" y="1826156"/>
            <a:ext cx="11057682" cy="4451685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spcCol="360000" rtlCol="0" anchor="t" anchorCtr="0"/>
          <a:lstStyle/>
          <a:p>
            <a:endParaRPr lang="ru-RU" sz="2800" b="1" kern="0" dirty="0">
              <a:solidFill>
                <a:srgbClr val="1B3281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69BFAB7B-690E-4170-B2EE-FEE46A89108E}"/>
              </a:ext>
            </a:extLst>
          </p:cNvPr>
          <p:cNvSpPr txBox="1">
            <a:spLocks/>
          </p:cNvSpPr>
          <p:nvPr/>
        </p:nvSpPr>
        <p:spPr>
          <a:xfrm>
            <a:off x="2053059" y="1323361"/>
            <a:ext cx="9053556" cy="95755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 defTabSz="844083" rtl="0" eaLnBrk="1" latinLnBrk="0" hangingPunct="1">
              <a:spcBef>
                <a:spcPct val="0"/>
              </a:spcBef>
              <a:buNone/>
              <a:defRPr sz="406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3200" b="1" dirty="0">
                <a:solidFill>
                  <a:srgbClr val="0072BC"/>
                </a:solidFill>
                <a:cs typeface="Arial" panose="020B0604020202020204" pitchFamily="34" charset="0"/>
              </a:rPr>
              <a:t>Преемственность с дошкольным образованием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Таблица 2">
            <a:extLst>
              <a:ext uri="{FF2B5EF4-FFF2-40B4-BE49-F238E27FC236}">
                <a16:creationId xmlns:a16="http://schemas.microsoft.com/office/drawing/2014/main" id="{8071D6F6-A69D-4127-AFD5-932630F6A310}"/>
              </a:ext>
            </a:extLst>
          </p:cNvPr>
          <p:cNvGraphicFramePr>
            <a:graphicFrameLocks noGrp="1"/>
          </p:cNvGraphicFramePr>
          <p:nvPr/>
        </p:nvGraphicFramePr>
        <p:xfrm>
          <a:off x="1049759" y="2783715"/>
          <a:ext cx="10056856" cy="31852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94241">
                  <a:extLst>
                    <a:ext uri="{9D8B030D-6E8A-4147-A177-3AD203B41FA5}">
                      <a16:colId xmlns:a16="http://schemas.microsoft.com/office/drawing/2014/main" val="1577931599"/>
                    </a:ext>
                  </a:extLst>
                </a:gridCol>
                <a:gridCol w="1962615">
                  <a:extLst>
                    <a:ext uri="{9D8B030D-6E8A-4147-A177-3AD203B41FA5}">
                      <a16:colId xmlns:a16="http://schemas.microsoft.com/office/drawing/2014/main" val="64735148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200" b="1" dirty="0">
                          <a:solidFill>
                            <a:schemeClr val="tx1"/>
                          </a:solidFill>
                        </a:rPr>
                        <a:t>Положение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b="1" dirty="0">
                          <a:solidFill>
                            <a:schemeClr val="tx1"/>
                          </a:solidFill>
                        </a:rPr>
                        <a:t>Класс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7386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0" dirty="0">
                          <a:solidFill>
                            <a:schemeClr val="tx1"/>
                          </a:solidFill>
                        </a:rPr>
                        <a:t>Опора на </a:t>
                      </a:r>
                      <a:r>
                        <a:rPr lang="ru-RU" sz="2200" b="0" dirty="0" err="1">
                          <a:solidFill>
                            <a:schemeClr val="tx1"/>
                          </a:solidFill>
                        </a:rPr>
                        <a:t>предшкольный</a:t>
                      </a:r>
                      <a:r>
                        <a:rPr lang="ru-RU" sz="2200" b="0" dirty="0">
                          <a:solidFill>
                            <a:schemeClr val="tx1"/>
                          </a:solidFill>
                        </a:rPr>
                        <a:t> опыт (пересчет, манипулирование, изображение)</a:t>
                      </a:r>
                      <a:endParaRPr lang="ru-RU" sz="2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6211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Развитие пространственных представлений (распознавание, различение, расположение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1-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4843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Формирование предпосылок учебной деятельности (группировка, сериация, закономерности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1-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7094791"/>
                  </a:ext>
                </a:extLst>
              </a:tr>
              <a:tr h="472565">
                <a:tc>
                  <a:txBody>
                    <a:bodyPr/>
                    <a:lstStyle/>
                    <a:p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Решение проблем средствами математики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dirty="0">
                          <a:solidFill>
                            <a:schemeClr val="tx1"/>
                          </a:solidFill>
                        </a:rPr>
                        <a:t>1-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633030"/>
                  </a:ext>
                </a:extLst>
              </a:tr>
            </a:tbl>
          </a:graphicData>
        </a:graphic>
      </p:graphicFrame>
      <p:sp>
        <p:nvSpPr>
          <p:cNvPr id="5" name="Текст 4">
            <a:extLst>
              <a:ext uri="{FF2B5EF4-FFF2-40B4-BE49-F238E27FC236}">
                <a16:creationId xmlns:a16="http://schemas.microsoft.com/office/drawing/2014/main" id="{E27239A9-CC1F-473A-8029-C13CB142F3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07966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317DEC1-9707-4A93-95B2-824386221C20}"/>
              </a:ext>
            </a:extLst>
          </p:cNvPr>
          <p:cNvSpPr/>
          <p:nvPr/>
        </p:nvSpPr>
        <p:spPr>
          <a:xfrm>
            <a:off x="668658" y="714740"/>
            <a:ext cx="10375991" cy="1755327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spcCol="360000" rtlCol="0" anchor="t" anchorCtr="0"/>
          <a:lstStyle/>
          <a:p>
            <a:pPr marL="457200" indent="-457200">
              <a:buClr>
                <a:srgbClr val="0A55A2"/>
              </a:buClr>
              <a:buFont typeface="Arial" panose="020B0604020202020204" pitchFamily="34" charset="0"/>
              <a:buChar char="•"/>
            </a:pPr>
            <a:r>
              <a:rPr lang="ru-RU" sz="2800" b="1" kern="0" dirty="0">
                <a:solidFill>
                  <a:srgbClr val="1B3281"/>
                </a:solidFill>
                <a:latin typeface="Calibri" panose="020F0502020204030204" pitchFamily="34" charset="0"/>
                <a:ea typeface="Verdana" pitchFamily="34" charset="0"/>
                <a:cs typeface="Calibri" panose="020F0502020204030204" pitchFamily="34" charset="0"/>
              </a:rPr>
              <a:t>Этапность.</a:t>
            </a:r>
            <a:endParaRPr lang="ru-RU" sz="2800" kern="0" dirty="0">
              <a:solidFill>
                <a:srgbClr val="1B3281"/>
              </a:solidFill>
              <a:latin typeface="Calibri" panose="020F0502020204030204" pitchFamily="34" charset="0"/>
              <a:ea typeface="Verdana" pitchFamily="34" charset="0"/>
              <a:cs typeface="Calibri" panose="020F0502020204030204" pitchFamily="34" charset="0"/>
            </a:endParaRPr>
          </a:p>
          <a:p>
            <a:pPr marL="457200" indent="-457200">
              <a:buClr>
                <a:srgbClr val="0A55A2"/>
              </a:buClr>
              <a:buFont typeface="Arial" panose="020B0604020202020204" pitchFamily="34" charset="0"/>
              <a:buChar char="•"/>
            </a:pPr>
            <a:r>
              <a:rPr lang="ru-RU" sz="2800" b="1" kern="0" dirty="0" err="1">
                <a:solidFill>
                  <a:srgbClr val="1B3281"/>
                </a:solidFill>
                <a:latin typeface="Calibri" panose="020F0502020204030204" pitchFamily="34" charset="0"/>
                <a:ea typeface="Verdana" pitchFamily="34" charset="0"/>
                <a:cs typeface="Calibri" panose="020F0502020204030204" pitchFamily="34" charset="0"/>
              </a:rPr>
              <a:t>Общепредметность</a:t>
            </a:r>
            <a:r>
              <a:rPr lang="ru-RU" sz="2800" b="1" kern="0" dirty="0">
                <a:solidFill>
                  <a:srgbClr val="1B3281"/>
                </a:solidFill>
                <a:latin typeface="Calibri" panose="020F0502020204030204" pitchFamily="34" charset="0"/>
                <a:ea typeface="Verdana" pitchFamily="34" charset="0"/>
                <a:cs typeface="Calibri" panose="020F0502020204030204" pitchFamily="34" charset="0"/>
              </a:rPr>
              <a:t> </a:t>
            </a:r>
            <a:r>
              <a:rPr lang="ru-RU" sz="2800" kern="0" dirty="0">
                <a:solidFill>
                  <a:srgbClr val="1B3281"/>
                </a:solidFill>
                <a:latin typeface="Calibri" panose="020F0502020204030204" pitchFamily="34" charset="0"/>
                <a:ea typeface="Verdana" pitchFamily="34" charset="0"/>
                <a:cs typeface="Calibri" panose="020F0502020204030204" pitchFamily="34" charset="0"/>
              </a:rPr>
              <a:t>основных</a:t>
            </a:r>
            <a:r>
              <a:rPr lang="ru-RU" sz="2800" b="1" kern="0" dirty="0">
                <a:solidFill>
                  <a:srgbClr val="1B3281"/>
                </a:solidFill>
                <a:latin typeface="Calibri" panose="020F0502020204030204" pitchFamily="34" charset="0"/>
                <a:ea typeface="Verdana" pitchFamily="34" charset="0"/>
                <a:cs typeface="Calibri" panose="020F0502020204030204" pitchFamily="34" charset="0"/>
              </a:rPr>
              <a:t> </a:t>
            </a:r>
            <a:r>
              <a:rPr lang="ru-RU" sz="2800" kern="0" dirty="0">
                <a:solidFill>
                  <a:srgbClr val="1B3281"/>
                </a:solidFill>
                <a:latin typeface="Calibri" panose="020F0502020204030204" pitchFamily="34" charset="0"/>
                <a:ea typeface="Verdana" pitchFamily="34" charset="0"/>
                <a:cs typeface="Calibri" panose="020F0502020204030204" pitchFamily="34" charset="0"/>
              </a:rPr>
              <a:t>действий. </a:t>
            </a:r>
          </a:p>
          <a:p>
            <a:pPr marL="457200" indent="-457200">
              <a:buClr>
                <a:srgbClr val="0A55A2"/>
              </a:buClr>
              <a:buFont typeface="Arial" panose="020B0604020202020204" pitchFamily="34" charset="0"/>
              <a:buChar char="•"/>
            </a:pPr>
            <a:r>
              <a:rPr lang="ru-RU" sz="2800" b="1" kern="0" dirty="0">
                <a:solidFill>
                  <a:srgbClr val="1B3281"/>
                </a:solidFill>
                <a:latin typeface="Calibri" panose="020F0502020204030204" pitchFamily="34" charset="0"/>
                <a:ea typeface="Verdana" pitchFamily="34" charset="0"/>
                <a:cs typeface="Calibri" panose="020F0502020204030204" pitchFamily="34" charset="0"/>
              </a:rPr>
              <a:t>Полнота </a:t>
            </a:r>
            <a:r>
              <a:rPr lang="ru-RU" sz="2800" kern="0" dirty="0">
                <a:solidFill>
                  <a:srgbClr val="1B3281"/>
                </a:solidFill>
                <a:latin typeface="Calibri" panose="020F0502020204030204" pitchFamily="34" charset="0"/>
                <a:ea typeface="Verdana" pitchFamily="34" charset="0"/>
                <a:cs typeface="Calibri" panose="020F0502020204030204" pitchFamily="34" charset="0"/>
              </a:rPr>
              <a:t>представления в разных учебных курсах.</a:t>
            </a:r>
          </a:p>
          <a:p>
            <a:pPr>
              <a:buClr>
                <a:srgbClr val="0A55A2"/>
              </a:buClr>
            </a:pPr>
            <a:r>
              <a:rPr lang="ru-RU" sz="2800" kern="0" dirty="0">
                <a:solidFill>
                  <a:srgbClr val="1B3281"/>
                </a:solidFill>
                <a:latin typeface="Calibri" panose="020F0502020204030204" pitchFamily="34" charset="0"/>
                <a:ea typeface="Verdana" pitchFamily="34" charset="0"/>
                <a:cs typeface="Calibri" panose="020F0502020204030204" pitchFamily="34" charset="0"/>
              </a:rPr>
              <a:t>РП «Математика», 3 класс. Планируемые результаты (фрагмент)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D8879FD-F543-4FF1-9F60-8255E4B0B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09" y="167985"/>
            <a:ext cx="10748291" cy="546755"/>
          </a:xfrm>
        </p:spPr>
        <p:txBody>
          <a:bodyPr>
            <a:normAutofit fontScale="90000"/>
          </a:bodyPr>
          <a:lstStyle/>
          <a:p>
            <a:r>
              <a:rPr lang="ru-RU" dirty="0"/>
              <a:t>Формирование универсальных учебных действий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B95A62BB-D641-40A6-AB44-4488B8C93E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0260" y="2526866"/>
            <a:ext cx="9571240" cy="4337327"/>
          </a:xfrm>
          <a:prstGeom prst="rect">
            <a:avLst/>
          </a:prstGeom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8AE59F66-C097-4A63-A57D-9D29A51CFD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7947" y="340883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72292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317DEC1-9707-4A93-95B2-824386221C20}"/>
              </a:ext>
            </a:extLst>
          </p:cNvPr>
          <p:cNvSpPr/>
          <p:nvPr/>
        </p:nvSpPr>
        <p:spPr>
          <a:xfrm>
            <a:off x="588218" y="1826156"/>
            <a:ext cx="11057682" cy="4451685"/>
          </a:xfrm>
          <a:prstGeom prst="rect">
            <a:avLst/>
          </a:prstGeom>
          <a:noFill/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spcCol="360000" rtlCol="0" anchor="t" anchorCtr="0"/>
          <a:lstStyle/>
          <a:p>
            <a:endParaRPr lang="ru-RU" sz="2800" b="1" kern="0" dirty="0">
              <a:solidFill>
                <a:srgbClr val="1B3281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Таблица 2">
            <a:extLst>
              <a:ext uri="{FF2B5EF4-FFF2-40B4-BE49-F238E27FC236}">
                <a16:creationId xmlns:a16="http://schemas.microsoft.com/office/drawing/2014/main" id="{8071D6F6-A69D-4127-AFD5-932630F6A3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1811861"/>
              </p:ext>
            </p:extLst>
          </p:nvPr>
        </p:nvGraphicFramePr>
        <p:xfrm>
          <a:off x="478259" y="1965547"/>
          <a:ext cx="10321082" cy="423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21082">
                  <a:extLst>
                    <a:ext uri="{9D8B030D-6E8A-4147-A177-3AD203B41FA5}">
                      <a16:colId xmlns:a16="http://schemas.microsoft.com/office/drawing/2014/main" val="1577931599"/>
                    </a:ext>
                  </a:extLst>
                </a:gridCol>
              </a:tblGrid>
              <a:tr h="195455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2600" b="0" dirty="0">
                          <a:solidFill>
                            <a:schemeClr val="tx1"/>
                          </a:solidFill>
                        </a:rPr>
                        <a:t>Преемственность в представлении содержания и требованиях к освоению.</a:t>
                      </a:r>
                      <a:endParaRPr lang="ru-RU" sz="2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6211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ru-RU" sz="2600" dirty="0">
                          <a:solidFill>
                            <a:schemeClr val="tx1"/>
                          </a:solidFill>
                        </a:rPr>
                        <a:t>Распределение содержания внутри блока: </a:t>
                      </a:r>
                    </a:p>
                    <a:p>
                      <a:pPr marL="1163638" indent="-177800">
                        <a:buFont typeface="Wingdings" panose="05000000000000000000" pitchFamily="2" charset="2"/>
                        <a:buChar char="v"/>
                      </a:pPr>
                      <a:r>
                        <a:rPr lang="ru-RU" sz="2600" dirty="0">
                          <a:solidFill>
                            <a:schemeClr val="tx1"/>
                          </a:solidFill>
                        </a:rPr>
                        <a:t>ориентировка в пространстве; </a:t>
                      </a:r>
                    </a:p>
                    <a:p>
                      <a:pPr marL="1163638" indent="-177800">
                        <a:buFont typeface="Wingdings" panose="05000000000000000000" pitchFamily="2" charset="2"/>
                        <a:buChar char="v"/>
                      </a:pPr>
                      <a:r>
                        <a:rPr lang="ru-RU" sz="2600" dirty="0">
                          <a:solidFill>
                            <a:schemeClr val="tx1"/>
                          </a:solidFill>
                        </a:rPr>
                        <a:t>фигуры и действия над ними; </a:t>
                      </a:r>
                    </a:p>
                    <a:p>
                      <a:pPr marL="1163638" indent="-177800">
                        <a:buFont typeface="Wingdings" panose="05000000000000000000" pitchFamily="2" charset="2"/>
                        <a:buChar char="v"/>
                      </a:pPr>
                      <a:r>
                        <a:rPr lang="ru-RU" sz="2600" dirty="0">
                          <a:solidFill>
                            <a:schemeClr val="tx1"/>
                          </a:solidFill>
                        </a:rPr>
                        <a:t>построения;</a:t>
                      </a:r>
                    </a:p>
                    <a:p>
                      <a:pPr marL="1163638" indent="-177800">
                        <a:buFont typeface="Wingdings" panose="05000000000000000000" pitchFamily="2" charset="2"/>
                        <a:buChar char="v"/>
                      </a:pPr>
                      <a:r>
                        <a:rPr lang="ru-RU" sz="2600" dirty="0">
                          <a:solidFill>
                            <a:schemeClr val="tx1"/>
                          </a:solidFill>
                        </a:rPr>
                        <a:t> измерения; </a:t>
                      </a:r>
                    </a:p>
                    <a:p>
                      <a:pPr marL="1163638" indent="-177800">
                        <a:buFont typeface="Wingdings" panose="05000000000000000000" pitchFamily="2" charset="2"/>
                        <a:buChar char="v"/>
                      </a:pPr>
                      <a:r>
                        <a:rPr lang="ru-RU" sz="2600" dirty="0">
                          <a:solidFill>
                            <a:schemeClr val="tx1"/>
                          </a:solidFill>
                        </a:rPr>
                        <a:t>решение проблем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4843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ru-RU" sz="2600" dirty="0">
                          <a:solidFill>
                            <a:schemeClr val="tx1"/>
                          </a:solidFill>
                        </a:rPr>
                        <a:t>Развитие универсальных учебных действий.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ru-RU" sz="2600" dirty="0">
                          <a:solidFill>
                            <a:schemeClr val="tx1"/>
                          </a:solidFill>
                        </a:rPr>
                        <a:t>Становление математической грамотности.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7094791"/>
                  </a:ext>
                </a:extLst>
              </a:tr>
            </a:tbl>
          </a:graphicData>
        </a:graphic>
      </p:graphicFrame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4DC3EDA3-6C26-449C-A670-B15A1CC971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4108" y="666749"/>
            <a:ext cx="10748291" cy="1049612"/>
          </a:xfrm>
        </p:spPr>
        <p:txBody>
          <a:bodyPr>
            <a:normAutofit fontScale="90000"/>
          </a:bodyPr>
          <a:lstStyle/>
          <a:p>
            <a:pPr algn="ctr"/>
            <a:r>
              <a:rPr lang="ru-RU" b="1" dirty="0"/>
              <a:t>Изменения в предметном содержании. </a:t>
            </a:r>
            <a:br>
              <a:rPr lang="ru-RU" b="1" dirty="0"/>
            </a:br>
            <a:r>
              <a:rPr lang="ru-RU" b="1" dirty="0"/>
              <a:t>Геометрический материал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1D00299-141A-429F-84A6-F002F1FB9D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95343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3D1F5BD-9440-4684-B416-C7BD9F9AF2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092BB0-A620-44DD-9874-2842E668E373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  <p:pic>
        <p:nvPicPr>
          <p:cNvPr id="6" name="Рисунок 5" descr="Изображение выглядит как фотография, много, закрытый, стол&#10;&#10;Автоматически созданное описание">
            <a:extLst>
              <a:ext uri="{FF2B5EF4-FFF2-40B4-BE49-F238E27FC236}">
                <a16:creationId xmlns:a16="http://schemas.microsoft.com/office/drawing/2014/main" id="{9042FC22-0AFB-4A5F-B3FC-9BC0DF80A9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063" y="28106"/>
            <a:ext cx="5250163" cy="6858000"/>
          </a:xfrm>
          <a:prstGeom prst="rect">
            <a:avLst/>
          </a:prstGeom>
        </p:spPr>
      </p:pic>
      <p:pic>
        <p:nvPicPr>
          <p:cNvPr id="8" name="Рисунок 7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3F073DB5-5FBC-4078-9D8D-6DF0BE3D171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77256"/>
          <a:stretch/>
        </p:blipFill>
        <p:spPr>
          <a:xfrm>
            <a:off x="5290312" y="1244121"/>
            <a:ext cx="5625994" cy="1728887"/>
          </a:xfrm>
          <a:prstGeom prst="rect">
            <a:avLst/>
          </a:prstGeom>
        </p:spPr>
      </p:pic>
      <p:pic>
        <p:nvPicPr>
          <p:cNvPr id="10" name="Рисунок 9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8FAE8607-E7B7-4E2F-8C1B-4461E7C5BB4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9576"/>
          <a:stretch/>
        </p:blipFill>
        <p:spPr>
          <a:xfrm>
            <a:off x="5448290" y="3083425"/>
            <a:ext cx="5468016" cy="3400895"/>
          </a:xfrm>
          <a:prstGeom prst="rect">
            <a:avLst/>
          </a:prstGeom>
        </p:spPr>
      </p:pic>
      <p:pic>
        <p:nvPicPr>
          <p:cNvPr id="12" name="Picture 10" descr="http://im8-tub-ru.yandex.net/i?id=326734187-49-72&amp;n=21">
            <a:extLst>
              <a:ext uri="{FF2B5EF4-FFF2-40B4-BE49-F238E27FC236}">
                <a16:creationId xmlns:a16="http://schemas.microsoft.com/office/drawing/2014/main" id="{B87606D2-74A2-4B38-A4B9-3C7DC7897B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6306" y="-22201"/>
            <a:ext cx="1275694" cy="1728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57D22D0-BCF8-405E-B107-7B37E024D82F}"/>
              </a:ext>
            </a:extLst>
          </p:cNvPr>
          <p:cNvSpPr/>
          <p:nvPr/>
        </p:nvSpPr>
        <p:spPr>
          <a:xfrm>
            <a:off x="6381924" y="136125"/>
            <a:ext cx="409592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200" b="1" dirty="0">
                <a:solidFill>
                  <a:srgbClr val="C00000"/>
                </a:solidFill>
              </a:rPr>
              <a:t>Умение применять знания в стандартных и нестандартных ситуациях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599286-8A2D-41E7-A407-BB6679FEC05D}"/>
              </a:ext>
            </a:extLst>
          </p:cNvPr>
          <p:cNvSpPr txBox="1"/>
          <p:nvPr/>
        </p:nvSpPr>
        <p:spPr>
          <a:xfrm>
            <a:off x="5525226" y="6484320"/>
            <a:ext cx="6525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Источник: Математика-4. Авторы: Минаева С.С., Рослова Л.О.</a:t>
            </a:r>
          </a:p>
        </p:txBody>
      </p:sp>
    </p:spTree>
    <p:extLst>
      <p:ext uri="{BB962C8B-B14F-4D97-AF65-F5344CB8AC3E}">
        <p14:creationId xmlns:p14="http://schemas.microsoft.com/office/powerpoint/2010/main" val="17956560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4639F302-0A6A-4189-876F-804B6C94DE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Изменения в планируемых результатах. Текстовые задачи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F271FCA-1E9D-4ACF-AC7B-4366048C2E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42147E-EE85-4F74-9234-1AEC9DBE8707}"/>
              </a:ext>
            </a:extLst>
          </p:cNvPr>
          <p:cNvSpPr txBox="1"/>
          <p:nvPr/>
        </p:nvSpPr>
        <p:spPr>
          <a:xfrm>
            <a:off x="581892" y="1340768"/>
            <a:ext cx="11000508" cy="48320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2800" dirty="0">
                <a:solidFill>
                  <a:srgbClr val="000000"/>
                </a:solidFill>
                <a:latin typeface="SchoolBookSanPin"/>
              </a:rPr>
              <a:t>К концу обучения в четвертом классе ученик научится:</a:t>
            </a:r>
          </a:p>
          <a:p>
            <a:pPr algn="l"/>
            <a:r>
              <a:rPr lang="ru-RU" sz="1800" b="0" i="0" u="none" strike="noStrike" baseline="0" dirty="0">
                <a:solidFill>
                  <a:srgbClr val="000000"/>
                </a:solidFill>
                <a:latin typeface="SchoolBookSanPin"/>
              </a:rPr>
              <a:t>—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SchoolBookSanPin"/>
              </a:rPr>
              <a:t> </a:t>
            </a:r>
            <a:r>
              <a:rPr lang="ru-RU" sz="2000" b="0" i="0" u="none" strike="noStrike" baseline="0" dirty="0">
                <a:solidFill>
                  <a:srgbClr val="000000"/>
                </a:solidFill>
              </a:rPr>
              <a:t>решать текстовые задачи в 1—3 действия, .., оценивать полученный результат по критериям: достоверность/реальность, соответствие условию;</a:t>
            </a:r>
          </a:p>
          <a:p>
            <a:r>
              <a:rPr lang="ru-RU" sz="2000" b="0" i="0" u="none" strike="noStrike" baseline="0" dirty="0">
                <a:solidFill>
                  <a:srgbClr val="000000"/>
                </a:solidFill>
              </a:rPr>
              <a:t>—решать практические задачи, связанные с повседневной жизнью (на покупки, движение и т.п.), в том числе, с избыточными данными, находить недостающую информацию (например, из таблиц, схем), находить и оценивать различные способы решения, использовать подходящие способы про-верки;</a:t>
            </a:r>
            <a:endParaRPr lang="en-US" sz="2000" b="0" i="0" u="none" strike="noStrike" baseline="0" dirty="0">
              <a:solidFill>
                <a:srgbClr val="000000"/>
              </a:solidFill>
            </a:endParaRPr>
          </a:p>
          <a:p>
            <a:pPr algn="l"/>
            <a:r>
              <a:rPr lang="ru-RU" sz="2000" b="0" i="0" u="none" strike="noStrike" baseline="0" dirty="0">
                <a:solidFill>
                  <a:srgbClr val="000000"/>
                </a:solidFill>
              </a:rPr>
              <a:t>— использовать при решении текстовых задач и в практических ситуациях соотношения между скоростью, временем и пройденным путем, между производительностью, временем и объёмом работы;</a:t>
            </a:r>
            <a:endParaRPr lang="en-US" sz="2000" b="0" i="0" u="none" strike="noStrike" baseline="0" dirty="0">
              <a:solidFill>
                <a:srgbClr val="000000"/>
              </a:solidFill>
            </a:endParaRPr>
          </a:p>
          <a:p>
            <a:pPr algn="l"/>
            <a:r>
              <a:rPr lang="ru-RU" sz="2000" b="0" i="0" u="none" strike="noStrike" baseline="0" dirty="0">
                <a:solidFill>
                  <a:srgbClr val="000000"/>
                </a:solidFill>
              </a:rPr>
              <a:t>—использовать единицы величин для при решении задач (длина, масса, время, вместимость, стоимость, площадь, скорость);</a:t>
            </a:r>
          </a:p>
          <a:p>
            <a:r>
              <a:rPr lang="ru-RU" sz="2000" dirty="0">
                <a:solidFill>
                  <a:srgbClr val="000000"/>
                </a:solidFill>
              </a:rPr>
              <a:t>—</a:t>
            </a:r>
            <a:r>
              <a:rPr lang="en-US" sz="2000" dirty="0">
                <a:solidFill>
                  <a:srgbClr val="000000"/>
                </a:solidFill>
              </a:rPr>
              <a:t> c</a:t>
            </a:r>
            <a:r>
              <a:rPr lang="ru-RU" sz="2000" b="0" i="0" u="none" strike="noStrike" baseline="0" dirty="0">
                <a:solidFill>
                  <a:srgbClr val="000000"/>
                </a:solidFill>
              </a:rPr>
              <a:t>оставлять</a:t>
            </a:r>
            <a:r>
              <a:rPr lang="en-US" sz="2000" b="0" i="0" u="none" strike="noStrike" baseline="0" dirty="0">
                <a:solidFill>
                  <a:srgbClr val="000000"/>
                </a:solidFill>
              </a:rPr>
              <a:t> </a:t>
            </a:r>
            <a:r>
              <a:rPr lang="ru-RU" sz="2000" b="0" i="0" u="none" strike="noStrike" baseline="0" dirty="0">
                <a:solidFill>
                  <a:srgbClr val="000000"/>
                </a:solidFill>
              </a:rPr>
              <a:t> модель текстовой задачи, </a:t>
            </a:r>
            <a:r>
              <a:rPr lang="ru-RU" sz="2000" dirty="0">
                <a:solidFill>
                  <a:srgbClr val="000000"/>
                </a:solidFill>
              </a:rPr>
              <a:t>числовое выражение</a:t>
            </a:r>
            <a:r>
              <a:rPr lang="ru-RU" sz="2000" b="0" i="0" u="none" strike="noStrike" baseline="0" dirty="0">
                <a:solidFill>
                  <a:srgbClr val="000000"/>
                </a:solidFill>
              </a:rPr>
              <a:t>;</a:t>
            </a:r>
          </a:p>
          <a:p>
            <a:r>
              <a:rPr lang="ru-RU" sz="2000" b="0" i="0" u="none" strike="noStrike" baseline="0" dirty="0">
                <a:solidFill>
                  <a:srgbClr val="000000"/>
                </a:solidFill>
              </a:rPr>
              <a:t>—конструировать ход решения математической задачи;</a:t>
            </a:r>
          </a:p>
          <a:p>
            <a:r>
              <a:rPr lang="ru-RU" sz="2000" b="0" i="0" u="none" strike="noStrike" baseline="0" dirty="0">
                <a:solidFill>
                  <a:srgbClr val="000000"/>
                </a:solidFill>
              </a:rPr>
              <a:t>—находить все верные решения задачи из предложенных.</a:t>
            </a:r>
            <a:endParaRPr lang="ru-RU" sz="1800" b="0" i="0" u="none" strike="noStrike" baseline="0" dirty="0">
              <a:solidFill>
                <a:srgbClr val="000000"/>
              </a:solidFill>
              <a:latin typeface="SchoolBookSanPin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4E0093E8-331C-40B1-A487-099FA67F0C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8" y="133349"/>
            <a:ext cx="55880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93756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91</TotalTime>
  <Words>933</Words>
  <Application>Microsoft Office PowerPoint</Application>
  <PresentationFormat>Широкоэкранный</PresentationFormat>
  <Paragraphs>146</Paragraphs>
  <Slides>24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32" baseType="lpstr">
      <vt:lpstr>Arial</vt:lpstr>
      <vt:lpstr>Calibri</vt:lpstr>
      <vt:lpstr>Calibri Light</vt:lpstr>
      <vt:lpstr>SchoolBookSanPin</vt:lpstr>
      <vt:lpstr>Times New Roman</vt:lpstr>
      <vt:lpstr>Wingdings</vt:lpstr>
      <vt:lpstr>Тема Office</vt:lpstr>
      <vt:lpstr>Слайд think-cell</vt:lpstr>
      <vt:lpstr>Рабочая программа по математике для начальной школы</vt:lpstr>
      <vt:lpstr>2021. ФГОС НОО. Математика. Требования</vt:lpstr>
      <vt:lpstr>Презентация PowerPoint</vt:lpstr>
      <vt:lpstr>Рабочая программа.  Структура курса. Блоки содержания </vt:lpstr>
      <vt:lpstr>Презентация PowerPoint</vt:lpstr>
      <vt:lpstr>Формирование универсальных учебных действий</vt:lpstr>
      <vt:lpstr>Изменения в предметном содержании.  Геометрический материал</vt:lpstr>
      <vt:lpstr>Презентация PowerPoint</vt:lpstr>
      <vt:lpstr>Изменения в планируемых результатах. Текстовые задачи</vt:lpstr>
      <vt:lpstr>Математическая информация – универсальный блок содержания</vt:lpstr>
      <vt:lpstr>Математическая информация и мотивация учения  </vt:lpstr>
      <vt:lpstr>Универсальные учебные действия. Пример. «Измерять»</vt:lpstr>
      <vt:lpstr>Совместная деятельность как метапредметный результат обучения (Рабочая программа по математике. 1- 4, 2021) 4 класс</vt:lpstr>
      <vt:lpstr>Пример.</vt:lpstr>
      <vt:lpstr>TIMSS-2011</vt:lpstr>
      <vt:lpstr>Пример задания мониторинга</vt:lpstr>
      <vt:lpstr>Презентация PowerPoint</vt:lpstr>
      <vt:lpstr>Презентация PowerPoint</vt:lpstr>
      <vt:lpstr>Каковы условия успешного формирования  математической грамотности на уроке? </vt:lpstr>
      <vt:lpstr>Презентация PowerPoint</vt:lpstr>
      <vt:lpstr>Презентация PowerPoint</vt:lpstr>
      <vt:lpstr>Презентация PowerPoint</vt:lpstr>
      <vt:lpstr>Предупреждение трудностей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</dc:creator>
  <cp:lastModifiedBy>Оксана Рыдзе</cp:lastModifiedBy>
  <cp:revision>150</cp:revision>
  <dcterms:created xsi:type="dcterms:W3CDTF">2020-06-08T21:27:38Z</dcterms:created>
  <dcterms:modified xsi:type="dcterms:W3CDTF">2021-11-23T05:47:20Z</dcterms:modified>
</cp:coreProperties>
</file>